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9" r:id="rId1"/>
  </p:sldMasterIdLst>
  <p:notesMasterIdLst>
    <p:notesMasterId r:id="rId31"/>
  </p:notesMasterIdLst>
  <p:handoutMasterIdLst>
    <p:handoutMasterId r:id="rId32"/>
  </p:handoutMasterIdLst>
  <p:sldIdLst>
    <p:sldId id="259" r:id="rId2"/>
    <p:sldId id="298" r:id="rId3"/>
    <p:sldId id="329" r:id="rId4"/>
    <p:sldId id="330" r:id="rId5"/>
    <p:sldId id="297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256" r:id="rId14"/>
    <p:sldId id="313" r:id="rId15"/>
    <p:sldId id="331" r:id="rId16"/>
    <p:sldId id="310" r:id="rId17"/>
    <p:sldId id="318" r:id="rId18"/>
    <p:sldId id="321" r:id="rId19"/>
    <p:sldId id="322" r:id="rId20"/>
    <p:sldId id="323" r:id="rId21"/>
    <p:sldId id="319" r:id="rId22"/>
    <p:sldId id="320" r:id="rId23"/>
    <p:sldId id="324" r:id="rId24"/>
    <p:sldId id="325" r:id="rId25"/>
    <p:sldId id="326" r:id="rId26"/>
    <p:sldId id="327" r:id="rId27"/>
    <p:sldId id="332" r:id="rId28"/>
    <p:sldId id="328" r:id="rId29"/>
    <p:sldId id="276" r:id="rId30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2040"/>
    <a:srgbClr val="AE223F"/>
    <a:srgbClr val="990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>
        <p:scale>
          <a:sx n="70" d="100"/>
          <a:sy n="70" d="100"/>
        </p:scale>
        <p:origin x="955" y="2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Nowak (MNOW)" userId="66b77b97-64ba-43b9-b188-bd23cab7d4bb" providerId="ADAL" clId="{DB5E73E7-EB46-4104-B9DC-518CF0903E05}"/>
    <pc:docChg chg="addSld delSld">
      <pc:chgData name="Michael Nowak (MNOW)" userId="66b77b97-64ba-43b9-b188-bd23cab7d4bb" providerId="ADAL" clId="{DB5E73E7-EB46-4104-B9DC-518CF0903E05}" dt="2024-05-03T12:33:10.390" v="5" actId="47"/>
      <pc:docMkLst>
        <pc:docMk/>
      </pc:docMkLst>
      <pc:sldChg chg="new del">
        <pc:chgData name="Michael Nowak (MNOW)" userId="66b77b97-64ba-43b9-b188-bd23cab7d4bb" providerId="ADAL" clId="{DB5E73E7-EB46-4104-B9DC-518CF0903E05}" dt="2024-05-03T12:33:10.390" v="5" actId="47"/>
        <pc:sldMkLst>
          <pc:docMk/>
          <pc:sldMk cId="1051139978" sldId="297"/>
        </pc:sldMkLst>
      </pc:sldChg>
      <pc:sldChg chg="new del">
        <pc:chgData name="Michael Nowak (MNOW)" userId="66b77b97-64ba-43b9-b188-bd23cab7d4bb" providerId="ADAL" clId="{DB5E73E7-EB46-4104-B9DC-518CF0903E05}" dt="2024-05-03T12:32:07.918" v="1" actId="47"/>
        <pc:sldMkLst>
          <pc:docMk/>
          <pc:sldMk cId="3714413786" sldId="297"/>
        </pc:sldMkLst>
      </pc:sldChg>
      <pc:sldChg chg="new del">
        <pc:chgData name="Michael Nowak (MNOW)" userId="66b77b97-64ba-43b9-b188-bd23cab7d4bb" providerId="ADAL" clId="{DB5E73E7-EB46-4104-B9DC-518CF0903E05}" dt="2024-05-03T12:32:52.084" v="4" actId="47"/>
        <pc:sldMkLst>
          <pc:docMk/>
          <pc:sldMk cId="1188748497" sldId="298"/>
        </pc:sldMkLst>
      </pc:sldChg>
    </pc:docChg>
  </pc:docChgLst>
  <pc:docChgLst>
    <pc:chgData name="Michael Nowak (MNOW)" userId="66b77b97-64ba-43b9-b188-bd23cab7d4bb" providerId="ADAL" clId="{6F18D327-AC5B-4954-B915-E33A232B72CC}"/>
    <pc:docChg chg="undo custSel addSld delSld modSld modMainMaster">
      <pc:chgData name="Michael Nowak (MNOW)" userId="66b77b97-64ba-43b9-b188-bd23cab7d4bb" providerId="ADAL" clId="{6F18D327-AC5B-4954-B915-E33A232B72CC}" dt="2022-11-03T10:55:26.405" v="590"/>
      <pc:docMkLst>
        <pc:docMk/>
      </pc:docMkLst>
      <pc:sldChg chg="setBg">
        <pc:chgData name="Michael Nowak (MNOW)" userId="66b77b97-64ba-43b9-b188-bd23cab7d4bb" providerId="ADAL" clId="{6F18D327-AC5B-4954-B915-E33A232B72CC}" dt="2022-03-28T06:33:12.464" v="2"/>
        <pc:sldMkLst>
          <pc:docMk/>
          <pc:sldMk cId="269250381" sldId="259"/>
        </pc:sldMkLst>
      </pc:sldChg>
      <pc:sldChg chg="delSp modSp mod setBg">
        <pc:chgData name="Michael Nowak (MNOW)" userId="66b77b97-64ba-43b9-b188-bd23cab7d4bb" providerId="ADAL" clId="{6F18D327-AC5B-4954-B915-E33A232B72CC}" dt="2022-11-03T10:55:26.405" v="590"/>
        <pc:sldMkLst>
          <pc:docMk/>
          <pc:sldMk cId="2797191857" sldId="261"/>
        </pc:sldMkLst>
        <pc:spChg chg="mod">
          <ac:chgData name="Michael Nowak (MNOW)" userId="66b77b97-64ba-43b9-b188-bd23cab7d4bb" providerId="ADAL" clId="{6F18D327-AC5B-4954-B915-E33A232B72CC}" dt="2022-03-28T06:39:42.019" v="85" actId="20577"/>
          <ac:spMkLst>
            <pc:docMk/>
            <pc:sldMk cId="2797191857" sldId="261"/>
            <ac:spMk id="8" creationId="{D606EDF2-65D3-447A-A4B3-983685C84491}"/>
          </ac:spMkLst>
        </pc:spChg>
        <pc:spChg chg="del">
          <ac:chgData name="Michael Nowak (MNOW)" userId="66b77b97-64ba-43b9-b188-bd23cab7d4bb" providerId="ADAL" clId="{6F18D327-AC5B-4954-B915-E33A232B72CC}" dt="2022-03-28T06:39:12.147" v="67" actId="478"/>
          <ac:spMkLst>
            <pc:docMk/>
            <pc:sldMk cId="2797191857" sldId="261"/>
            <ac:spMk id="9" creationId="{CDCC3696-427A-478B-BB74-574E2F35D20F}"/>
          </ac:spMkLst>
        </pc:spChg>
        <pc:spChg chg="mod">
          <ac:chgData name="Michael Nowak (MNOW)" userId="66b77b97-64ba-43b9-b188-bd23cab7d4bb" providerId="ADAL" clId="{6F18D327-AC5B-4954-B915-E33A232B72CC}" dt="2022-03-28T06:40:43.606" v="157" actId="20577"/>
          <ac:spMkLst>
            <pc:docMk/>
            <pc:sldMk cId="2797191857" sldId="261"/>
            <ac:spMk id="10" creationId="{32BD35AD-DDAD-469B-B31E-65E6D6711ACF}"/>
          </ac:spMkLst>
        </pc:spChg>
      </pc:sldChg>
      <pc:sldChg chg="modSp add del mod">
        <pc:chgData name="Michael Nowak (MNOW)" userId="66b77b97-64ba-43b9-b188-bd23cab7d4bb" providerId="ADAL" clId="{6F18D327-AC5B-4954-B915-E33A232B72CC}" dt="2022-03-28T06:40:13.713" v="117" actId="47"/>
        <pc:sldMkLst>
          <pc:docMk/>
          <pc:sldMk cId="2561161951" sldId="263"/>
        </pc:sldMkLst>
        <pc:spChg chg="mod">
          <ac:chgData name="Michael Nowak (MNOW)" userId="66b77b97-64ba-43b9-b188-bd23cab7d4bb" providerId="ADAL" clId="{6F18D327-AC5B-4954-B915-E33A232B72CC}" dt="2022-03-28T06:40:05.393" v="116" actId="20577"/>
          <ac:spMkLst>
            <pc:docMk/>
            <pc:sldMk cId="2561161951" sldId="263"/>
            <ac:spMk id="8" creationId="{D606EDF2-65D3-447A-A4B3-983685C84491}"/>
          </ac:spMkLst>
        </pc:spChg>
      </pc:sldChg>
      <pc:sldChg chg="add setBg">
        <pc:chgData name="Michael Nowak (MNOW)" userId="66b77b97-64ba-43b9-b188-bd23cab7d4bb" providerId="ADAL" clId="{6F18D327-AC5B-4954-B915-E33A232B72CC}" dt="2022-11-03T10:55:26.405" v="590"/>
        <pc:sldMkLst>
          <pc:docMk/>
          <pc:sldMk cId="1279746491" sldId="264"/>
        </pc:sldMkLst>
      </pc:sldChg>
      <pc:sldChg chg="addSp delSp modSp add mod setBg">
        <pc:chgData name="Michael Nowak (MNOW)" userId="66b77b97-64ba-43b9-b188-bd23cab7d4bb" providerId="ADAL" clId="{6F18D327-AC5B-4954-B915-E33A232B72CC}" dt="2022-11-03T10:55:26.405" v="590"/>
        <pc:sldMkLst>
          <pc:docMk/>
          <pc:sldMk cId="3026566015" sldId="265"/>
        </pc:sldMkLst>
        <pc:spChg chg="del mod">
          <ac:chgData name="Michael Nowak (MNOW)" userId="66b77b97-64ba-43b9-b188-bd23cab7d4bb" providerId="ADAL" clId="{6F18D327-AC5B-4954-B915-E33A232B72CC}" dt="2022-03-28T09:13:27.768" v="240" actId="478"/>
          <ac:spMkLst>
            <pc:docMk/>
            <pc:sldMk cId="3026566015" sldId="265"/>
            <ac:spMk id="8" creationId="{D606EDF2-65D3-447A-A4B3-983685C84491}"/>
          </ac:spMkLst>
        </pc:spChg>
        <pc:spChg chg="del">
          <ac:chgData name="Michael Nowak (MNOW)" userId="66b77b97-64ba-43b9-b188-bd23cab7d4bb" providerId="ADAL" clId="{6F18D327-AC5B-4954-B915-E33A232B72CC}" dt="2022-03-28T06:41:51.693" v="197" actId="478"/>
          <ac:spMkLst>
            <pc:docMk/>
            <pc:sldMk cId="3026566015" sldId="265"/>
            <ac:spMk id="9" creationId="{CDCC3696-427A-478B-BB74-574E2F35D20F}"/>
          </ac:spMkLst>
        </pc:spChg>
        <pc:spChg chg="del">
          <ac:chgData name="Michael Nowak (MNOW)" userId="66b77b97-64ba-43b9-b188-bd23cab7d4bb" providerId="ADAL" clId="{6F18D327-AC5B-4954-B915-E33A232B72CC}" dt="2022-03-28T06:41:50.308" v="196" actId="478"/>
          <ac:spMkLst>
            <pc:docMk/>
            <pc:sldMk cId="3026566015" sldId="265"/>
            <ac:spMk id="10" creationId="{32BD35AD-DDAD-469B-B31E-65E6D6711ACF}"/>
          </ac:spMkLst>
        </pc:spChg>
        <pc:spChg chg="add del">
          <ac:chgData name="Michael Nowak (MNOW)" userId="66b77b97-64ba-43b9-b188-bd23cab7d4bb" providerId="ADAL" clId="{6F18D327-AC5B-4954-B915-E33A232B72CC}" dt="2022-03-28T09:15:18.114" v="283" actId="478"/>
          <ac:spMkLst>
            <pc:docMk/>
            <pc:sldMk cId="3026566015" sldId="265"/>
            <ac:spMk id="36" creationId="{21557764-FD4B-4864-8E37-A65DBDA5405D}"/>
          </ac:spMkLst>
        </pc:spChg>
        <pc:spChg chg="add mod">
          <ac:chgData name="Michael Nowak (MNOW)" userId="66b77b97-64ba-43b9-b188-bd23cab7d4bb" providerId="ADAL" clId="{6F18D327-AC5B-4954-B915-E33A232B72CC}" dt="2022-03-28T09:18:57.983" v="386" actId="20577"/>
          <ac:spMkLst>
            <pc:docMk/>
            <pc:sldMk cId="3026566015" sldId="265"/>
            <ac:spMk id="45" creationId="{407D3B7D-DE99-44B2-B81A-AC25C30E2FA3}"/>
          </ac:spMkLst>
        </pc:sp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3" creationId="{B4470898-5F8E-4B0D-BD2E-713CDC9DBC88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5" creationId="{33B42549-DC69-4B4A-BD4D-147611520995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7" creationId="{9FAB2CF4-A12C-4472-90F3-DD97331572B5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10" creationId="{AF9289CF-FE8B-419F-A7F6-E19A35D2F20A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12" creationId="{6C773C0C-B030-402A-8DC7-9BE0E30F86BE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14" creationId="{EBE45C61-E952-48A3-894B-ACD3B70B58A9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16" creationId="{3A7C8B71-ADF4-4179-9C0D-FD5E73819768}"/>
          </ac:picMkLst>
        </pc:picChg>
        <pc:picChg chg="add del mod">
          <ac:chgData name="Michael Nowak (MNOW)" userId="66b77b97-64ba-43b9-b188-bd23cab7d4bb" providerId="ADAL" clId="{6F18D327-AC5B-4954-B915-E33A232B72CC}" dt="2022-03-28T09:11:56.744" v="208"/>
          <ac:picMkLst>
            <pc:docMk/>
            <pc:sldMk cId="3026566015" sldId="265"/>
            <ac:picMk id="18" creationId="{FC2016C2-EBCD-444A-AF2F-3E39AD9E0BB6}"/>
          </ac:picMkLst>
        </pc:picChg>
        <pc:picChg chg="add mod">
          <ac:chgData name="Michael Nowak (MNOW)" userId="66b77b97-64ba-43b9-b188-bd23cab7d4bb" providerId="ADAL" clId="{6F18D327-AC5B-4954-B915-E33A232B72CC}" dt="2022-03-28T09:18:19.930" v="362" actId="1076"/>
          <ac:picMkLst>
            <pc:docMk/>
            <pc:sldMk cId="3026566015" sldId="265"/>
            <ac:picMk id="20" creationId="{D05A3AE5-5D96-42FF-9C38-422DD742EFED}"/>
          </ac:picMkLst>
        </pc:picChg>
        <pc:picChg chg="add mod">
          <ac:chgData name="Michael Nowak (MNOW)" userId="66b77b97-64ba-43b9-b188-bd23cab7d4bb" providerId="ADAL" clId="{6F18D327-AC5B-4954-B915-E33A232B72CC}" dt="2022-03-28T09:18:28.523" v="369" actId="1076"/>
          <ac:picMkLst>
            <pc:docMk/>
            <pc:sldMk cId="3026566015" sldId="265"/>
            <ac:picMk id="22" creationId="{9EAED373-597C-4217-99B1-78FABBB130A0}"/>
          </ac:picMkLst>
        </pc:picChg>
        <pc:picChg chg="add mod">
          <ac:chgData name="Michael Nowak (MNOW)" userId="66b77b97-64ba-43b9-b188-bd23cab7d4bb" providerId="ADAL" clId="{6F18D327-AC5B-4954-B915-E33A232B72CC}" dt="2022-03-28T09:18:31.046" v="371" actId="1076"/>
          <ac:picMkLst>
            <pc:docMk/>
            <pc:sldMk cId="3026566015" sldId="265"/>
            <ac:picMk id="24" creationId="{1ECDAFDF-2FE7-412D-95AE-1D04ABB06532}"/>
          </ac:picMkLst>
        </pc:picChg>
        <pc:picChg chg="add mod">
          <ac:chgData name="Michael Nowak (MNOW)" userId="66b77b97-64ba-43b9-b188-bd23cab7d4bb" providerId="ADAL" clId="{6F18D327-AC5B-4954-B915-E33A232B72CC}" dt="2022-03-28T09:18:24.781" v="366" actId="1076"/>
          <ac:picMkLst>
            <pc:docMk/>
            <pc:sldMk cId="3026566015" sldId="265"/>
            <ac:picMk id="26" creationId="{DD25DDF9-2C9E-42B8-BCB3-D1EE56807328}"/>
          </ac:picMkLst>
        </pc:picChg>
        <pc:picChg chg="add mod">
          <ac:chgData name="Michael Nowak (MNOW)" userId="66b77b97-64ba-43b9-b188-bd23cab7d4bb" providerId="ADAL" clId="{6F18D327-AC5B-4954-B915-E33A232B72CC}" dt="2022-03-28T09:18:06.135" v="356" actId="1076"/>
          <ac:picMkLst>
            <pc:docMk/>
            <pc:sldMk cId="3026566015" sldId="265"/>
            <ac:picMk id="28" creationId="{4B7B3760-81D4-401B-9EF6-EA8ADFCF3B08}"/>
          </ac:picMkLst>
        </pc:picChg>
        <pc:picChg chg="add mod">
          <ac:chgData name="Michael Nowak (MNOW)" userId="66b77b97-64ba-43b9-b188-bd23cab7d4bb" providerId="ADAL" clId="{6F18D327-AC5B-4954-B915-E33A232B72CC}" dt="2022-03-28T09:18:25.641" v="367" actId="1076"/>
          <ac:picMkLst>
            <pc:docMk/>
            <pc:sldMk cId="3026566015" sldId="265"/>
            <ac:picMk id="30" creationId="{5D5384DF-5172-4A7A-9638-D17F177A57BF}"/>
          </ac:picMkLst>
        </pc:picChg>
        <pc:picChg chg="add mod">
          <ac:chgData name="Michael Nowak (MNOW)" userId="66b77b97-64ba-43b9-b188-bd23cab7d4bb" providerId="ADAL" clId="{6F18D327-AC5B-4954-B915-E33A232B72CC}" dt="2022-03-28T09:18:29.736" v="370" actId="1076"/>
          <ac:picMkLst>
            <pc:docMk/>
            <pc:sldMk cId="3026566015" sldId="265"/>
            <ac:picMk id="32" creationId="{B88F2489-B862-4124-B087-7FF81881D517}"/>
          </ac:picMkLst>
        </pc:picChg>
        <pc:picChg chg="add mod">
          <ac:chgData name="Michael Nowak (MNOW)" userId="66b77b97-64ba-43b9-b188-bd23cab7d4bb" providerId="ADAL" clId="{6F18D327-AC5B-4954-B915-E33A232B72CC}" dt="2022-03-28T09:18:23.887" v="365" actId="1076"/>
          <ac:picMkLst>
            <pc:docMk/>
            <pc:sldMk cId="3026566015" sldId="265"/>
            <ac:picMk id="34" creationId="{1069EE98-69AD-46BF-A656-1524A8596856}"/>
          </ac:picMkLst>
        </pc:picChg>
        <pc:picChg chg="add mod">
          <ac:chgData name="Michael Nowak (MNOW)" userId="66b77b97-64ba-43b9-b188-bd23cab7d4bb" providerId="ADAL" clId="{6F18D327-AC5B-4954-B915-E33A232B72CC}" dt="2022-03-28T09:19:22.416" v="398" actId="1076"/>
          <ac:picMkLst>
            <pc:docMk/>
            <pc:sldMk cId="3026566015" sldId="265"/>
            <ac:picMk id="37" creationId="{7C1062C6-89C2-41C0-9403-91BE2E5695AD}"/>
          </ac:picMkLst>
        </pc:picChg>
        <pc:picChg chg="add mod">
          <ac:chgData name="Michael Nowak (MNOW)" userId="66b77b97-64ba-43b9-b188-bd23cab7d4bb" providerId="ADAL" clId="{6F18D327-AC5B-4954-B915-E33A232B72CC}" dt="2022-03-28T09:19:03.029" v="388" actId="1076"/>
          <ac:picMkLst>
            <pc:docMk/>
            <pc:sldMk cId="3026566015" sldId="265"/>
            <ac:picMk id="38" creationId="{5BDF737C-6116-4C5F-B0BF-C4854A7156C2}"/>
          </ac:picMkLst>
        </pc:picChg>
        <pc:picChg chg="add mod">
          <ac:chgData name="Michael Nowak (MNOW)" userId="66b77b97-64ba-43b9-b188-bd23cab7d4bb" providerId="ADAL" clId="{6F18D327-AC5B-4954-B915-E33A232B72CC}" dt="2022-03-28T09:19:26.172" v="401" actId="1076"/>
          <ac:picMkLst>
            <pc:docMk/>
            <pc:sldMk cId="3026566015" sldId="265"/>
            <ac:picMk id="39" creationId="{15FAD4C4-A23A-45FF-83CC-DBD83B58685D}"/>
          </ac:picMkLst>
        </pc:picChg>
        <pc:picChg chg="add mod">
          <ac:chgData name="Michael Nowak (MNOW)" userId="66b77b97-64ba-43b9-b188-bd23cab7d4bb" providerId="ADAL" clId="{6F18D327-AC5B-4954-B915-E33A232B72CC}" dt="2022-03-28T09:19:14.190" v="396" actId="1076"/>
          <ac:picMkLst>
            <pc:docMk/>
            <pc:sldMk cId="3026566015" sldId="265"/>
            <ac:picMk id="40" creationId="{53C0FC6A-E1DE-4014-85C7-D7F7E5C472D0}"/>
          </ac:picMkLst>
        </pc:picChg>
        <pc:picChg chg="add mod">
          <ac:chgData name="Michael Nowak (MNOW)" userId="66b77b97-64ba-43b9-b188-bd23cab7d4bb" providerId="ADAL" clId="{6F18D327-AC5B-4954-B915-E33A232B72CC}" dt="2022-03-28T09:19:02.161" v="387" actId="1076"/>
          <ac:picMkLst>
            <pc:docMk/>
            <pc:sldMk cId="3026566015" sldId="265"/>
            <ac:picMk id="41" creationId="{BDE44B78-A984-4BC0-9BA7-74D9B30D0FA3}"/>
          </ac:picMkLst>
        </pc:picChg>
        <pc:picChg chg="add mod">
          <ac:chgData name="Michael Nowak (MNOW)" userId="66b77b97-64ba-43b9-b188-bd23cab7d4bb" providerId="ADAL" clId="{6F18D327-AC5B-4954-B915-E33A232B72CC}" dt="2022-03-28T09:19:23.821" v="399" actId="1076"/>
          <ac:picMkLst>
            <pc:docMk/>
            <pc:sldMk cId="3026566015" sldId="265"/>
            <ac:picMk id="42" creationId="{C0C9CCCA-A1DA-444E-A800-8C604D12DE9B}"/>
          </ac:picMkLst>
        </pc:picChg>
        <pc:picChg chg="add mod">
          <ac:chgData name="Michael Nowak (MNOW)" userId="66b77b97-64ba-43b9-b188-bd23cab7d4bb" providerId="ADAL" clId="{6F18D327-AC5B-4954-B915-E33A232B72CC}" dt="2022-03-28T09:19:25.090" v="400" actId="1076"/>
          <ac:picMkLst>
            <pc:docMk/>
            <pc:sldMk cId="3026566015" sldId="265"/>
            <ac:picMk id="43" creationId="{FBE7CED5-5BDD-4941-A3C4-C025D85A95E1}"/>
          </ac:picMkLst>
        </pc:picChg>
        <pc:picChg chg="add mod">
          <ac:chgData name="Michael Nowak (MNOW)" userId="66b77b97-64ba-43b9-b188-bd23cab7d4bb" providerId="ADAL" clId="{6F18D327-AC5B-4954-B915-E33A232B72CC}" dt="2022-03-28T09:19:15.202" v="397" actId="1076"/>
          <ac:picMkLst>
            <pc:docMk/>
            <pc:sldMk cId="3026566015" sldId="265"/>
            <ac:picMk id="44" creationId="{E4F4CC3A-F958-42EF-86A6-E45CEFC83A8F}"/>
          </ac:picMkLst>
        </pc:picChg>
      </pc:sldChg>
      <pc:sldChg chg="addSp delSp modSp add del mod">
        <pc:chgData name="Michael Nowak (MNOW)" userId="66b77b97-64ba-43b9-b188-bd23cab7d4bb" providerId="ADAL" clId="{6F18D327-AC5B-4954-B915-E33A232B72CC}" dt="2022-03-28T09:18:43.039" v="372" actId="47"/>
        <pc:sldMkLst>
          <pc:docMk/>
          <pc:sldMk cId="1481427760" sldId="266"/>
        </pc:sldMkLst>
        <pc:picChg chg="add mod">
          <ac:chgData name="Michael Nowak (MNOW)" userId="66b77b97-64ba-43b9-b188-bd23cab7d4bb" providerId="ADAL" clId="{6F18D327-AC5B-4954-B915-E33A232B72CC}" dt="2022-03-28T09:16:19.593" v="313" actId="14100"/>
          <ac:picMkLst>
            <pc:docMk/>
            <pc:sldMk cId="1481427760" sldId="266"/>
            <ac:picMk id="3" creationId="{64390F37-829A-407E-ABDE-900D8216CEA1}"/>
          </ac:picMkLst>
        </pc:picChg>
        <pc:picChg chg="add mod">
          <ac:chgData name="Michael Nowak (MNOW)" userId="66b77b97-64ba-43b9-b188-bd23cab7d4bb" providerId="ADAL" clId="{6F18D327-AC5B-4954-B915-E33A232B72CC}" dt="2022-03-28T09:16:27.663" v="319" actId="1076"/>
          <ac:picMkLst>
            <pc:docMk/>
            <pc:sldMk cId="1481427760" sldId="266"/>
            <ac:picMk id="5" creationId="{AC13ADD3-D625-4611-BA71-FFF851CC9BA5}"/>
          </ac:picMkLst>
        </pc:picChg>
        <pc:picChg chg="add mod">
          <ac:chgData name="Michael Nowak (MNOW)" userId="66b77b97-64ba-43b9-b188-bd23cab7d4bb" providerId="ADAL" clId="{6F18D327-AC5B-4954-B915-E33A232B72CC}" dt="2022-03-28T09:16:09.426" v="309" actId="1076"/>
          <ac:picMkLst>
            <pc:docMk/>
            <pc:sldMk cId="1481427760" sldId="266"/>
            <ac:picMk id="7" creationId="{496810F8-3A59-4275-9599-EA41D3B43026}"/>
          </ac:picMkLst>
        </pc:picChg>
        <pc:picChg chg="add mod">
          <ac:chgData name="Michael Nowak (MNOW)" userId="66b77b97-64ba-43b9-b188-bd23cab7d4bb" providerId="ADAL" clId="{6F18D327-AC5B-4954-B915-E33A232B72CC}" dt="2022-03-28T09:16:26.762" v="318" actId="1076"/>
          <ac:picMkLst>
            <pc:docMk/>
            <pc:sldMk cId="1481427760" sldId="266"/>
            <ac:picMk id="9" creationId="{30EEE31D-283C-4E39-B295-BF25EE0F2965}"/>
          </ac:picMkLst>
        </pc:picChg>
        <pc:picChg chg="add mod">
          <ac:chgData name="Michael Nowak (MNOW)" userId="66b77b97-64ba-43b9-b188-bd23cab7d4bb" providerId="ADAL" clId="{6F18D327-AC5B-4954-B915-E33A232B72CC}" dt="2022-03-28T09:16:25.675" v="317" actId="1076"/>
          <ac:picMkLst>
            <pc:docMk/>
            <pc:sldMk cId="1481427760" sldId="266"/>
            <ac:picMk id="11" creationId="{2ED86FA2-78E2-4795-ADA9-411DB24A4D53}"/>
          </ac:picMkLst>
        </pc:picChg>
        <pc:picChg chg="add mod">
          <ac:chgData name="Michael Nowak (MNOW)" userId="66b77b97-64ba-43b9-b188-bd23cab7d4bb" providerId="ADAL" clId="{6F18D327-AC5B-4954-B915-E33A232B72CC}" dt="2022-03-28T09:16:23.361" v="315" actId="1076"/>
          <ac:picMkLst>
            <pc:docMk/>
            <pc:sldMk cId="1481427760" sldId="266"/>
            <ac:picMk id="13" creationId="{B194BE99-975A-4FF2-B193-F642ABD6BD14}"/>
          </ac:picMkLst>
        </pc:picChg>
        <pc:picChg chg="add mod">
          <ac:chgData name="Michael Nowak (MNOW)" userId="66b77b97-64ba-43b9-b188-bd23cab7d4bb" providerId="ADAL" clId="{6F18D327-AC5B-4954-B915-E33A232B72CC}" dt="2022-03-28T09:16:22.308" v="314" actId="1076"/>
          <ac:picMkLst>
            <pc:docMk/>
            <pc:sldMk cId="1481427760" sldId="266"/>
            <ac:picMk id="15" creationId="{8F4A0A60-4208-4280-BA95-200DE76855FE}"/>
          </ac:picMkLst>
        </pc:picChg>
        <pc:picChg chg="add mod">
          <ac:chgData name="Michael Nowak (MNOW)" userId="66b77b97-64ba-43b9-b188-bd23cab7d4bb" providerId="ADAL" clId="{6F18D327-AC5B-4954-B915-E33A232B72CC}" dt="2022-03-28T09:16:24.306" v="316" actId="1076"/>
          <ac:picMkLst>
            <pc:docMk/>
            <pc:sldMk cId="1481427760" sldId="266"/>
            <ac:picMk id="17" creationId="{93B77DA8-0BD5-4E97-94C1-1E8D339DD532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20" creationId="{D05A3AE5-5D96-42FF-9C38-422DD742EFED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22" creationId="{9EAED373-597C-4217-99B1-78FABBB130A0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24" creationId="{1ECDAFDF-2FE7-412D-95AE-1D04ABB06532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26" creationId="{DD25DDF9-2C9E-42B8-BCB3-D1EE56807328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28" creationId="{4B7B3760-81D4-401B-9EF6-EA8ADFCF3B08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30" creationId="{5D5384DF-5172-4A7A-9638-D17F177A57BF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32" creationId="{B88F2489-B862-4124-B087-7FF81881D517}"/>
          </ac:picMkLst>
        </pc:picChg>
        <pc:picChg chg="del">
          <ac:chgData name="Michael Nowak (MNOW)" userId="66b77b97-64ba-43b9-b188-bd23cab7d4bb" providerId="ADAL" clId="{6F18D327-AC5B-4954-B915-E33A232B72CC}" dt="2022-03-28T09:15:22.947" v="285" actId="478"/>
          <ac:picMkLst>
            <pc:docMk/>
            <pc:sldMk cId="1481427760" sldId="266"/>
            <ac:picMk id="34" creationId="{1069EE98-69AD-46BF-A656-1524A8596856}"/>
          </ac:picMkLst>
        </pc:picChg>
      </pc:sldChg>
      <pc:sldChg chg="addSp delSp modSp add mod setBg">
        <pc:chgData name="Michael Nowak (MNOW)" userId="66b77b97-64ba-43b9-b188-bd23cab7d4bb" providerId="ADAL" clId="{6F18D327-AC5B-4954-B915-E33A232B72CC}" dt="2022-11-03T10:55:26.405" v="590"/>
        <pc:sldMkLst>
          <pc:docMk/>
          <pc:sldMk cId="2077366609" sldId="266"/>
        </pc:sldMkLst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21" creationId="{8E09E74B-609C-4DD0-B7D6-BB1A267AD80F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23" creationId="{F82C29A1-18AF-42C0-952A-A1F3BB79BD3F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25" creationId="{FDB17B99-60D2-4200-B58E-DEADC8104C6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27" creationId="{F5C5D129-51FE-4519-A0BA-1E80C2C78DC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29" creationId="{307D3CD6-931E-4AE1-8B5B-5D83310DC48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31" creationId="{B5A6B942-F2BF-4E17-B256-3CB7CA062006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33" creationId="{570CF389-4F51-4684-940F-2B7D1E9C13D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35" creationId="{26B77759-52D2-42C9-8FA3-71E7D32884C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36" creationId="{F264CE7E-E975-4AC8-BBBE-F61AD83F44C3}"/>
          </ac:spMkLst>
        </pc:spChg>
        <pc:spChg chg="mod">
          <ac:chgData name="Michael Nowak (MNOW)" userId="66b77b97-64ba-43b9-b188-bd23cab7d4bb" providerId="ADAL" clId="{6F18D327-AC5B-4954-B915-E33A232B72CC}" dt="2022-03-28T09:34:02.916" v="436" actId="20577"/>
          <ac:spMkLst>
            <pc:docMk/>
            <pc:sldMk cId="2077366609" sldId="266"/>
            <ac:spMk id="45" creationId="{407D3B7D-DE99-44B2-B81A-AC25C30E2FA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46" creationId="{F8CC4CF8-51BC-4961-9AE1-A228F83B7D3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47" creationId="{E06F007D-4150-4E4F-929D-AFD46B22D660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48" creationId="{EE5CACA8-D333-48F5-BE8D-A386A13A06C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49" creationId="{94658C25-4A32-4384-8CCA-13A689E9795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0" creationId="{F4D35033-0B8A-4D7C-B41B-644F3B1D781C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1" creationId="{A59E5311-2E76-486D-B26E-1A12CFFAD9B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2" creationId="{A2235D3A-924D-4702-894A-417F07A6006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3" creationId="{3DB68AE9-6A14-487F-B44F-C4D1C31DC236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4" creationId="{FA903C42-70CC-4656-AF07-6D8769E4FFA1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5" creationId="{55DAC779-6618-4A3A-89CA-AEBF18CB6211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6" creationId="{E7475A14-8A02-4B52-87C3-F49A1006D2D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7" creationId="{FBE3E03C-1B4D-4925-94D0-FCA064625BF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8" creationId="{44CDBB86-1476-4537-B546-24778457CC91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59" creationId="{77E63223-F757-49DF-8E01-68C54FA8A814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0" creationId="{2D86917B-EDDF-4587-8255-36D21890855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1" creationId="{8D208C5A-67AA-437E-AE07-7A0E0230B68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2" creationId="{8A9199F1-4F24-4E62-A2C6-CD3121A5E47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3" creationId="{F7095185-1079-4DE3-94AF-2A0782ACF56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4" creationId="{92D2114E-C053-4109-8B74-EFBA195AD9D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5" creationId="{051547BD-D90A-4C45-B92A-AF445A9BA76E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6" creationId="{17B6DF9B-340A-48DE-A800-817007015E9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7" creationId="{891CCB0F-58AB-476F-8149-FC4064667E85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8" creationId="{6218C561-C778-4CC8-84A6-0EE5316194E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69" creationId="{9E9C6B28-25C4-481F-891C-D7D8C4F92FD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0" creationId="{EF2546B3-7D67-429A-830D-A7D2ED45DD9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1" creationId="{8EF6DA80-1DCA-40A1-941D-53643E6C62C6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2" creationId="{6DD75780-C182-41DF-AAA2-5713A4F22044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3" creationId="{4935E9B9-BB2F-4012-9CA6-938DD77C5DF5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4" creationId="{E3F7DED7-7E3E-40C9-8BD5-954AC7223B1C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5" creationId="{EB1B2C54-4626-4A3B-B492-79035FDAE8EF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6" creationId="{4E47144A-ED23-4A55-BB98-5803016EEB95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7" creationId="{527AC4E6-A144-42B4-8695-8720D9D1C56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8" creationId="{8D17B842-AC44-4562-B12D-B07B28254E59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79" creationId="{B009F86D-43FE-43A3-837E-2CB2BBC8835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0" creationId="{DB16B9CB-E8DB-4F6E-80E2-E8C450990E60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1" creationId="{2EE711B0-177C-4EA8-AA5F-470421C07D26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2" creationId="{DAC01570-7C98-4E11-B6EC-ECA2B57AB87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3" creationId="{D0BAC10B-3F61-42EC-A025-870531071B8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4" creationId="{77878DB3-FE8D-4ED8-968C-811ED0AAE6F5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5" creationId="{D832E486-1E59-4A6E-A3C8-2C4367B5366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6" creationId="{211DEEB5-D641-458D-9690-DF7340CF5E33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7" creationId="{913BB7E5-5C3F-4C60-91D6-469A0EEB0AE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8" creationId="{5FCDECD5-1169-4D2F-990A-14653191224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89" creationId="{0A2E5F98-C4EC-4A36-992D-B92A77A7031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0" creationId="{CB4F86EF-BEC9-4836-BE3B-BECBC11CB0D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1" creationId="{971A6C17-8A6B-4B90-9618-E2E8101FC00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2" creationId="{8998CF87-DFA0-424A-AE95-2D845BE0A9A9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3" creationId="{E1C7A9EC-4243-4E4E-80E8-793C035639F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4" creationId="{9D80BA57-114C-4F35-BD9D-58609C2B1AB7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5" creationId="{10DFDA89-6FB1-4414-8596-E919F7D8C3BE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6" creationId="{29002382-9162-4568-A377-AAF1EF72D3C7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7" creationId="{F3BE8C9D-BF0A-4CD1-B9A2-4E687865943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8" creationId="{4BAD6B60-BBCE-4078-B2C8-5CD531B080E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99" creationId="{4967E3FE-7FD7-4EE8-834E-801B6C12730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0" creationId="{8B881DA1-B73F-4AA1-8774-A9B217AD679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1" creationId="{616C40F6-281A-4A56-9427-C86A785698E4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2" creationId="{F0FEFAE8-D062-4753-85A9-34047FD59497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3" creationId="{1505C707-20A4-457E-B873-17956FBD131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4" creationId="{DDAB305C-7F1D-44C3-B0BD-BF8F757404BF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5" creationId="{0B3AE04F-8079-490B-82CB-A1544E00F889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6" creationId="{EDDD1762-E4B9-4C9F-9A68-5259B6CCB42B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7" creationId="{884BD5B7-DBAA-430E-8683-FD40A66E1FE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8" creationId="{F7E29C63-2660-43A4-88CD-7FD59F7A632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09" creationId="{32B4E287-6A4A-4786-8FD4-922C1F19542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0" creationId="{EDEB9158-BE80-4987-B8E8-8382FFB55220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1" creationId="{81A891E9-2A30-4860-B82C-3E9B6788AC07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2" creationId="{823D3D43-E67C-46C5-A66F-8D0E2E9B422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3" creationId="{E4DA4880-8D65-4DDB-94C5-6EF47A413592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4" creationId="{6C5F66E4-5748-4A8D-9775-671C10F58A78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5" creationId="{DFEB7971-CA5B-48C6-A6AC-D60F29DEA059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6" creationId="{B7DE4DC0-F999-4070-AAFD-88C866314FAA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7" creationId="{6DF76E7F-8BBB-43BC-9561-AEC45F0F336C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8" creationId="{769C4CF4-93AB-4250-B0CE-B6DDEEFAB13D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19" creationId="{39EB30D4-9CFC-46E1-AE77-4B9F617B8807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20" creationId="{63F9AB0A-15DA-42F2-A944-5815655ABA8E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21" creationId="{B6E42D9F-A2DC-497E-8972-9051EBB026C0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22" creationId="{DE895DC8-DF74-4A19-8CBA-C21BEA606925}"/>
          </ac:spMkLst>
        </pc:spChg>
        <pc:spChg chg="mod">
          <ac:chgData name="Michael Nowak (MNOW)" userId="66b77b97-64ba-43b9-b188-bd23cab7d4bb" providerId="ADAL" clId="{6F18D327-AC5B-4954-B915-E33A232B72CC}" dt="2022-03-28T09:33:25.029" v="424" actId="207"/>
          <ac:spMkLst>
            <pc:docMk/>
            <pc:sldMk cId="2077366609" sldId="266"/>
            <ac:spMk id="123" creationId="{82EDD488-4043-4987-9089-A818F6CD488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25" creationId="{16B0FA08-56DF-4F49-AC09-DB179370B56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26" creationId="{EB00117D-D2DF-4242-BBBA-3C173A5F7B6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27" creationId="{348D042E-0343-49A7-A0D8-281833A6207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28" creationId="{19DB3C03-0D5B-4F2D-88F3-B62C35329521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29" creationId="{84757DFA-609C-43E0-B552-A9A2124E4AF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0" creationId="{F95E896F-BE21-42B8-9576-87327590402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1" creationId="{148E4AD3-1D65-4017-9996-ED91F8BFB7CD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2" creationId="{956AC46C-C332-4BDC-B229-8968D43A2DA0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3" creationId="{E4CD2134-3EA8-4A85-8128-E2CF01950E31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4" creationId="{1E582E60-CFCA-4867-A9F9-156364F578C0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5" creationId="{EF54B4DE-1C52-49B2-AC13-85807A3CA5E6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6" creationId="{6ABB0215-E4FE-4BA6-B5FA-0DC0E99CFDFC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7" creationId="{DFB6DDF6-F0D9-4F3E-98B2-5D99BE1C5F48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8" creationId="{6768E79B-5FF6-4A01-9863-9E815BBF45C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39" creationId="{6CBD034B-8B83-4B2D-B0C6-288A73021A3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0" creationId="{ACB5F5E1-5411-4974-B325-D9D5E942739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1" creationId="{660C9396-4F24-4B13-99A5-809B8C9F745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2" creationId="{76F0C976-A05A-4D66-8223-43892206099D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3" creationId="{52FAE0BC-DC31-4B61-8FE5-CBA2EAA0B9A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4" creationId="{2671183A-36EC-404F-8D45-9BA52D3AF51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5" creationId="{BDF4D544-F942-46DD-906D-FBC90638D9E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6" creationId="{A37629E6-0958-49DC-8F22-934FB860F86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7" creationId="{5C4AF17C-D5E7-4F54-AD53-B6B70BECB87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8" creationId="{C635E4FD-DBAD-4E1E-B4F1-B49E4917FE4C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49" creationId="{A834B808-A22F-407A-80E7-AD6D5302C0F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0" creationId="{11DBB103-ADC6-44CC-91CA-25E7459B3248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1" creationId="{64EC4E99-F56C-4FB7-AC00-22613C1F9A7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2" creationId="{17165210-7687-4776-8B9F-55338592806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3" creationId="{A745BAD1-6996-435B-AC2D-59AF8734F1AB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4" creationId="{F1ACF905-88C6-4236-950E-A9F3C077C16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5" creationId="{B2628076-A59D-4E38-A1BE-5D71D969FAB8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6" creationId="{89EAD7D2-0945-4173-AB45-9E1181A2779B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7" creationId="{E409CF30-D7BC-47D4-A923-83E5E0FAF370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8" creationId="{4894CCE4-66D8-44C6-B30B-CB0A1373D86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59" creationId="{B5C67FAD-996E-4855-B475-7918BC4B190E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0" creationId="{04AFD8A8-99C7-4B8C-ABD7-B5283066F4EB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1" creationId="{C5E8D86F-E23B-43F6-A611-4689E75DF96E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2" creationId="{84A678D3-DA95-4F27-80A9-FF72C3ED042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3" creationId="{414CC08F-A0D7-4D72-BB79-55E381160FC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4" creationId="{5CA9A188-5E10-44B7-8E66-BB580E49ACB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5" creationId="{72635A36-BE4D-42C0-B417-D7086892723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6" creationId="{BE9B709A-5B97-4DD7-BDBF-CDDEB4E56ABB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7" creationId="{BACFF02E-F746-467A-AE4D-9D998B3B7C5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8" creationId="{B825B12A-46EE-44E7-8269-5F463645DBF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69" creationId="{F73809C0-E54B-42A3-95EF-35F64F9CB73C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0" creationId="{9D148523-A39A-4702-8C4B-058285CF19B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1" creationId="{8C74185C-4371-4518-99AE-9CDF8D5E70A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2" creationId="{CE9214E4-0631-4C99-B106-6B425BC9B7A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3" creationId="{6A5154F4-CF93-4002-B1D1-DE1CD4FE768B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4" creationId="{BCD893D1-A4AD-4C18-AB81-B0A1F8BAF9C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5" creationId="{B06A06A7-754E-4CE5-8325-738335AD2BE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6" creationId="{99686C5B-0676-43C3-B14B-EDCC4DBD9E4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7" creationId="{A667872B-E732-4FB5-882B-D747D5B4F3D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8" creationId="{A444C062-88D3-4BD9-ADD8-1EE851B4CF0E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79" creationId="{933A8A9B-1C0D-43C0-B142-64B49B5B9C7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0" creationId="{21A78264-7427-40EC-93B4-9BD4CCC81A7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1" creationId="{8AD1FC8C-C455-4E33-93F4-45AF5C767A0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2" creationId="{5F36753B-F44A-4A0B-A875-936344CEDE9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3" creationId="{D97898DB-B56F-457A-91DD-97E1836D2A5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4" creationId="{D236E6EF-AF8C-4184-AFBF-7F84FF7D5FC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5" creationId="{A1022CD5-A631-431B-911E-2CE2D08F963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6" creationId="{EACEF7EF-3307-448E-95CE-D41C64E6B74D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7" creationId="{5AB8EFD0-8BE9-4408-8F64-A323751104A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8" creationId="{2BA714B2-CA96-4B73-97C0-C9595031D65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89" creationId="{600AA219-9E67-4104-9C1A-B3A360A8F510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0" creationId="{8FBFF805-4424-4C0E-9D7C-F7B4B9F476F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1" creationId="{4CE411EE-3967-4B9A-B62D-396C2CF0BB0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2" creationId="{1D08662F-CF84-4CDF-B2A5-AAB68FB25335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3" creationId="{9BEBA05B-0F94-4D5C-917F-34546A2D894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4" creationId="{C59A1597-09EE-4F87-AFAE-7212457151E6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5" creationId="{F318A219-D594-4620-8890-6B8F4A820C80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6" creationId="{FA6A5CCB-4D1E-49D6-8565-05C2140EDED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7" creationId="{59BA931D-D37D-4C7C-868C-3DB4171A8011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8" creationId="{959E72C4-A1A4-41A8-BEB3-B603709516D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199" creationId="{B967EE1D-2D1D-4D64-9462-B1C6254950CA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0" creationId="{A15D5E30-D723-48D2-86FB-E250A739ADE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1" creationId="{F28F4083-D2E4-4D68-8E45-27DB305CEC9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2" creationId="{6F146AD4-F34B-4697-92B7-3281C2A46A2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3" creationId="{0DA6418E-C0B0-4216-AD0B-57C502831206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4" creationId="{48814A01-8AFA-4E7A-A079-61B81E320B31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5" creationId="{705D91A1-6844-4DC8-8981-A233FB7E8B27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6" creationId="{46265DAC-0FFD-445F-8899-7D2A6B4B2954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7" creationId="{D58DAE4C-E203-4FAE-B799-A117AC8C24E9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8" creationId="{33FE3C72-B48A-4B1F-A64E-DA5C6E0FBE03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09" creationId="{E8E842B7-5524-47A6-A6D3-5476F1F91E12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10" creationId="{BBAD9AFA-0A3E-40F5-9AC8-244615BF2E0F}"/>
          </ac:spMkLst>
        </pc:spChg>
        <pc:spChg chg="mod">
          <ac:chgData name="Michael Nowak (MNOW)" userId="66b77b97-64ba-43b9-b188-bd23cab7d4bb" providerId="ADAL" clId="{6F18D327-AC5B-4954-B915-E33A232B72CC}" dt="2022-03-28T09:34:19.953" v="439"/>
          <ac:spMkLst>
            <pc:docMk/>
            <pc:sldMk cId="2077366609" sldId="266"/>
            <ac:spMk id="211" creationId="{36865EAE-6804-4552-BEF5-DCF51D78C387}"/>
          </ac:spMkLst>
        </pc:spChg>
        <pc:grpChg chg="add del mod">
          <ac:chgData name="Michael Nowak (MNOW)" userId="66b77b97-64ba-43b9-b188-bd23cab7d4bb" providerId="ADAL" clId="{6F18D327-AC5B-4954-B915-E33A232B72CC}" dt="2022-03-28T09:34:16.590" v="438" actId="478"/>
          <ac:grpSpMkLst>
            <pc:docMk/>
            <pc:sldMk cId="2077366609" sldId="266"/>
            <ac:grpSpMk id="19" creationId="{9644ED21-6FB8-47BF-A080-6563A1F277A1}"/>
          </ac:grpSpMkLst>
        </pc:grpChg>
        <pc:grpChg chg="add mod">
          <ac:chgData name="Michael Nowak (MNOW)" userId="66b77b97-64ba-43b9-b188-bd23cab7d4bb" providerId="ADAL" clId="{6F18D327-AC5B-4954-B915-E33A232B72CC}" dt="2022-03-28T09:39:05.109" v="557" actId="1038"/>
          <ac:grpSpMkLst>
            <pc:docMk/>
            <pc:sldMk cId="2077366609" sldId="266"/>
            <ac:grpSpMk id="124" creationId="{C5479869-72D9-442B-88CA-99264EC33056}"/>
          </ac:grpSpMkLst>
        </pc:grpChg>
        <pc:picChg chg="add mod">
          <ac:chgData name="Michael Nowak (MNOW)" userId="66b77b97-64ba-43b9-b188-bd23cab7d4bb" providerId="ADAL" clId="{6F18D327-AC5B-4954-B915-E33A232B72CC}" dt="2022-03-28T09:39:08.809" v="569" actId="1038"/>
          <ac:picMkLst>
            <pc:docMk/>
            <pc:sldMk cId="2077366609" sldId="266"/>
            <ac:picMk id="3" creationId="{AF42347B-C988-4122-AD99-7B3AD009A660}"/>
          </ac:picMkLst>
        </pc:picChg>
        <pc:picChg chg="add del mod">
          <ac:chgData name="Michael Nowak (MNOW)" userId="66b77b97-64ba-43b9-b188-bd23cab7d4bb" providerId="ADAL" clId="{6F18D327-AC5B-4954-B915-E33A232B72CC}" dt="2022-03-28T09:38:12.211" v="473" actId="478"/>
          <ac:picMkLst>
            <pc:docMk/>
            <pc:sldMk cId="2077366609" sldId="266"/>
            <ac:picMk id="5" creationId="{E24B08B3-70A0-44FF-BA20-8C00F48C1012}"/>
          </ac:picMkLst>
        </pc:picChg>
        <pc:picChg chg="del">
          <ac:chgData name="Michael Nowak (MNOW)" userId="66b77b97-64ba-43b9-b188-bd23cab7d4bb" providerId="ADAL" clId="{6F18D327-AC5B-4954-B915-E33A232B72CC}" dt="2022-03-28T09:19:55.358" v="408" actId="478"/>
          <ac:picMkLst>
            <pc:docMk/>
            <pc:sldMk cId="2077366609" sldId="266"/>
            <ac:picMk id="20" creationId="{D05A3AE5-5D96-42FF-9C38-422DD742EFED}"/>
          </ac:picMkLst>
        </pc:picChg>
        <pc:picChg chg="del">
          <ac:chgData name="Michael Nowak (MNOW)" userId="66b77b97-64ba-43b9-b188-bd23cab7d4bb" providerId="ADAL" clId="{6F18D327-AC5B-4954-B915-E33A232B72CC}" dt="2022-03-28T09:19:52.428" v="405" actId="478"/>
          <ac:picMkLst>
            <pc:docMk/>
            <pc:sldMk cId="2077366609" sldId="266"/>
            <ac:picMk id="22" creationId="{9EAED373-597C-4217-99B1-78FABBB130A0}"/>
          </ac:picMkLst>
        </pc:picChg>
        <pc:picChg chg="del">
          <ac:chgData name="Michael Nowak (MNOW)" userId="66b77b97-64ba-43b9-b188-bd23cab7d4bb" providerId="ADAL" clId="{6F18D327-AC5B-4954-B915-E33A232B72CC}" dt="2022-03-28T09:19:52.428" v="405" actId="478"/>
          <ac:picMkLst>
            <pc:docMk/>
            <pc:sldMk cId="2077366609" sldId="266"/>
            <ac:picMk id="24" creationId="{1ECDAFDF-2FE7-412D-95AE-1D04ABB06532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26" creationId="{DD25DDF9-2C9E-42B8-BCB3-D1EE56807328}"/>
          </ac:picMkLst>
        </pc:picChg>
        <pc:picChg chg="del">
          <ac:chgData name="Michael Nowak (MNOW)" userId="66b77b97-64ba-43b9-b188-bd23cab7d4bb" providerId="ADAL" clId="{6F18D327-AC5B-4954-B915-E33A232B72CC}" dt="2022-03-28T09:19:55.358" v="408" actId="478"/>
          <ac:picMkLst>
            <pc:docMk/>
            <pc:sldMk cId="2077366609" sldId="266"/>
            <ac:picMk id="28" creationId="{4B7B3760-81D4-401B-9EF6-EA8ADFCF3B08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30" creationId="{5D5384DF-5172-4A7A-9638-D17F177A57BF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32" creationId="{B88F2489-B862-4124-B087-7FF81881D517}"/>
          </ac:picMkLst>
        </pc:picChg>
        <pc:picChg chg="del">
          <ac:chgData name="Michael Nowak (MNOW)" userId="66b77b97-64ba-43b9-b188-bd23cab7d4bb" providerId="ADAL" clId="{6F18D327-AC5B-4954-B915-E33A232B72CC}" dt="2022-03-28T09:19:55.358" v="408" actId="478"/>
          <ac:picMkLst>
            <pc:docMk/>
            <pc:sldMk cId="2077366609" sldId="266"/>
            <ac:picMk id="34" creationId="{1069EE98-69AD-46BF-A656-1524A8596856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37" creationId="{7C1062C6-89C2-41C0-9403-91BE2E5695AD}"/>
          </ac:picMkLst>
        </pc:picChg>
        <pc:picChg chg="del">
          <ac:chgData name="Michael Nowak (MNOW)" userId="66b77b97-64ba-43b9-b188-bd23cab7d4bb" providerId="ADAL" clId="{6F18D327-AC5B-4954-B915-E33A232B72CC}" dt="2022-03-28T09:19:51.247" v="404" actId="478"/>
          <ac:picMkLst>
            <pc:docMk/>
            <pc:sldMk cId="2077366609" sldId="266"/>
            <ac:picMk id="38" creationId="{5BDF737C-6116-4C5F-B0BF-C4854A7156C2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39" creationId="{15FAD4C4-A23A-45FF-83CC-DBD83B58685D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40" creationId="{53C0FC6A-E1DE-4014-85C7-D7F7E5C472D0}"/>
          </ac:picMkLst>
        </pc:picChg>
        <pc:picChg chg="del">
          <ac:chgData name="Michael Nowak (MNOW)" userId="66b77b97-64ba-43b9-b188-bd23cab7d4bb" providerId="ADAL" clId="{6F18D327-AC5B-4954-B915-E33A232B72CC}" dt="2022-03-28T09:19:53.273" v="406" actId="478"/>
          <ac:picMkLst>
            <pc:docMk/>
            <pc:sldMk cId="2077366609" sldId="266"/>
            <ac:picMk id="41" creationId="{BDE44B78-A984-4BC0-9BA7-74D9B30D0FA3}"/>
          </ac:picMkLst>
        </pc:picChg>
        <pc:picChg chg="del">
          <ac:chgData name="Michael Nowak (MNOW)" userId="66b77b97-64ba-43b9-b188-bd23cab7d4bb" providerId="ADAL" clId="{6F18D327-AC5B-4954-B915-E33A232B72CC}" dt="2022-03-28T09:19:51.247" v="404" actId="478"/>
          <ac:picMkLst>
            <pc:docMk/>
            <pc:sldMk cId="2077366609" sldId="266"/>
            <ac:picMk id="42" creationId="{C0C9CCCA-A1DA-444E-A800-8C604D12DE9B}"/>
          </ac:picMkLst>
        </pc:picChg>
        <pc:picChg chg="del">
          <ac:chgData name="Michael Nowak (MNOW)" userId="66b77b97-64ba-43b9-b188-bd23cab7d4bb" providerId="ADAL" clId="{6F18D327-AC5B-4954-B915-E33A232B72CC}" dt="2022-03-28T09:19:49.614" v="403" actId="478"/>
          <ac:picMkLst>
            <pc:docMk/>
            <pc:sldMk cId="2077366609" sldId="266"/>
            <ac:picMk id="43" creationId="{FBE7CED5-5BDD-4941-A3C4-C025D85A95E1}"/>
          </ac:picMkLst>
        </pc:picChg>
        <pc:picChg chg="del">
          <ac:chgData name="Michael Nowak (MNOW)" userId="66b77b97-64ba-43b9-b188-bd23cab7d4bb" providerId="ADAL" clId="{6F18D327-AC5B-4954-B915-E33A232B72CC}" dt="2022-03-28T09:19:53.926" v="407" actId="478"/>
          <ac:picMkLst>
            <pc:docMk/>
            <pc:sldMk cId="2077366609" sldId="266"/>
            <ac:picMk id="44" creationId="{E4F4CC3A-F958-42EF-86A6-E45CEFC83A8F}"/>
          </ac:picMkLst>
        </pc:picChg>
      </pc:sldChg>
      <pc:sldChg chg="addSp delSp modSp add mod setBg">
        <pc:chgData name="Michael Nowak (MNOW)" userId="66b77b97-64ba-43b9-b188-bd23cab7d4bb" providerId="ADAL" clId="{6F18D327-AC5B-4954-B915-E33A232B72CC}" dt="2022-11-03T10:55:26.405" v="590"/>
        <pc:sldMkLst>
          <pc:docMk/>
          <pc:sldMk cId="1866254948" sldId="267"/>
        </pc:sldMkLst>
        <pc:spChg chg="mod">
          <ac:chgData name="Michael Nowak (MNOW)" userId="66b77b97-64ba-43b9-b188-bd23cab7d4bb" providerId="ADAL" clId="{6F18D327-AC5B-4954-B915-E33A232B72CC}" dt="2022-03-28T09:41:14.501" v="583" actId="20577"/>
          <ac:spMkLst>
            <pc:docMk/>
            <pc:sldMk cId="1866254948" sldId="267"/>
            <ac:spMk id="10" creationId="{32BD35AD-DDAD-469B-B31E-65E6D6711ACF}"/>
          </ac:spMkLst>
        </pc:spChg>
        <pc:picChg chg="add mod">
          <ac:chgData name="Michael Nowak (MNOW)" userId="66b77b97-64ba-43b9-b188-bd23cab7d4bb" providerId="ADAL" clId="{6F18D327-AC5B-4954-B915-E33A232B72CC}" dt="2022-03-28T09:41:59.307" v="588" actId="14100"/>
          <ac:picMkLst>
            <pc:docMk/>
            <pc:sldMk cId="1866254948" sldId="267"/>
            <ac:picMk id="3" creationId="{01848538-806B-45EE-BEB5-39E6B6D9CDB1}"/>
          </ac:picMkLst>
        </pc:picChg>
        <pc:picChg chg="add del mod">
          <ac:chgData name="Michael Nowak (MNOW)" userId="66b77b97-64ba-43b9-b188-bd23cab7d4bb" providerId="ADAL" clId="{6F18D327-AC5B-4954-B915-E33A232B72CC}" dt="2022-03-28T09:40:00.700" v="577" actId="478"/>
          <ac:picMkLst>
            <pc:docMk/>
            <pc:sldMk cId="1866254948" sldId="267"/>
            <ac:picMk id="5" creationId="{039ABE92-AA2F-4E72-9EF5-136075546938}"/>
          </ac:picMkLst>
        </pc:picChg>
      </pc:sldChg>
      <pc:sldMasterChg chg="setBg modSldLayout">
        <pc:chgData name="Michael Nowak (MNOW)" userId="66b77b97-64ba-43b9-b188-bd23cab7d4bb" providerId="ADAL" clId="{6F18D327-AC5B-4954-B915-E33A232B72CC}" dt="2022-03-28T06:33:12.464" v="2"/>
        <pc:sldMasterMkLst>
          <pc:docMk/>
          <pc:sldMasterMk cId="3594901890" sldId="2147483759"/>
        </pc:sldMasterMkLst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662605273" sldId="2147483760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300428305" sldId="2147483761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463896955" sldId="2147483762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120702401" sldId="2147483763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278464663" sldId="2147483764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208767676" sldId="2147483765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474253509" sldId="2147483766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160693235" sldId="2147483767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993753727" sldId="2147483768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252432211" sldId="2147483769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906375294" sldId="2147483770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4111509262" sldId="2147483771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773563421" sldId="2147483772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4244878906" sldId="2147483773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1609669042" sldId="2147483774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357756911" sldId="2147483775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901519300" sldId="2147483776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938521345" sldId="2147483777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1873077453" sldId="2147483778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442781968" sldId="2147483779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992914159" sldId="2147483780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089879744" sldId="2147483781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245551359" sldId="2147483782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922338097" sldId="2147483783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1457531739" sldId="2147483784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863983660" sldId="2147483785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2661956442" sldId="2147483786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3056920650" sldId="2147483787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4193268836" sldId="2147483788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1471855688" sldId="2147483789"/>
          </pc:sldLayoutMkLst>
        </pc:sldLayoutChg>
        <pc:sldLayoutChg chg="setBg">
          <pc:chgData name="Michael Nowak (MNOW)" userId="66b77b97-64ba-43b9-b188-bd23cab7d4bb" providerId="ADAL" clId="{6F18D327-AC5B-4954-B915-E33A232B72CC}" dt="2022-03-28T06:33:12.464" v="2"/>
          <pc:sldLayoutMkLst>
            <pc:docMk/>
            <pc:sldMasterMk cId="3594901890" sldId="2147483759"/>
            <pc:sldLayoutMk cId="661284619" sldId="2147483791"/>
          </pc:sldLayoutMkLst>
        </pc:sldLayoutChg>
      </pc:sldMasterChg>
    </pc:docChg>
  </pc:docChgLst>
  <pc:docChgLst>
    <pc:chgData name="Michael Nowak (MNOW)" userId="66b77b97-64ba-43b9-b188-bd23cab7d4bb" providerId="ADAL" clId="{07F72409-91A0-4F57-A7C3-9B3ECFC80C7E}"/>
    <pc:docChg chg="undo custSel addSld delSld modSld sldOrd modMainMaster">
      <pc:chgData name="Michael Nowak (MNOW)" userId="66b77b97-64ba-43b9-b188-bd23cab7d4bb" providerId="ADAL" clId="{07F72409-91A0-4F57-A7C3-9B3ECFC80C7E}" dt="2023-05-02T14:34:44.656" v="204" actId="255"/>
      <pc:docMkLst>
        <pc:docMk/>
      </pc:docMkLst>
      <pc:sldChg chg="modSp mod setBg">
        <pc:chgData name="Michael Nowak (MNOW)" userId="66b77b97-64ba-43b9-b188-bd23cab7d4bb" providerId="ADAL" clId="{07F72409-91A0-4F57-A7C3-9B3ECFC80C7E}" dt="2023-05-02T14:34:44.656" v="204" actId="255"/>
        <pc:sldMkLst>
          <pc:docMk/>
          <pc:sldMk cId="269250381" sldId="259"/>
        </pc:sldMkLst>
        <pc:spChg chg="mod">
          <ac:chgData name="Michael Nowak (MNOW)" userId="66b77b97-64ba-43b9-b188-bd23cab7d4bb" providerId="ADAL" clId="{07F72409-91A0-4F57-A7C3-9B3ECFC80C7E}" dt="2023-05-02T14:34:44.656" v="204" actId="255"/>
          <ac:spMkLst>
            <pc:docMk/>
            <pc:sldMk cId="269250381" sldId="259"/>
            <ac:spMk id="4" creationId="{7BA33B69-82F4-4C0D-9F82-4B9FF8E326D5}"/>
          </ac:spMkLst>
        </pc:spChg>
        <pc:spChg chg="mod">
          <ac:chgData name="Michael Nowak (MNOW)" userId="66b77b97-64ba-43b9-b188-bd23cab7d4bb" providerId="ADAL" clId="{07F72409-91A0-4F57-A7C3-9B3ECFC80C7E}" dt="2023-05-02T14:18:10.517" v="49" actId="207"/>
          <ac:spMkLst>
            <pc:docMk/>
            <pc:sldMk cId="269250381" sldId="259"/>
            <ac:spMk id="5" creationId="{22DDE7FD-8C1C-44EA-95CB-A92CB3CBBB0E}"/>
          </ac:spMkLst>
        </pc:spChg>
        <pc:spChg chg="mod">
          <ac:chgData name="Michael Nowak (MNOW)" userId="66b77b97-64ba-43b9-b188-bd23cab7d4bb" providerId="ADAL" clId="{07F72409-91A0-4F57-A7C3-9B3ECFC80C7E}" dt="2023-05-02T14:02:40.621" v="3" actId="1076"/>
          <ac:spMkLst>
            <pc:docMk/>
            <pc:sldMk cId="269250381" sldId="259"/>
            <ac:spMk id="6" creationId="{F5DB89ED-4E82-42AC-B7E2-0EDBF5CA0F1F}"/>
          </ac:spMkLst>
        </pc:spChg>
      </pc:sldChg>
      <pc:sldChg chg="del setBg">
        <pc:chgData name="Michael Nowak (MNOW)" userId="66b77b97-64ba-43b9-b188-bd23cab7d4bb" providerId="ADAL" clId="{07F72409-91A0-4F57-A7C3-9B3ECFC80C7E}" dt="2023-05-02T14:19:31.536" v="58" actId="47"/>
        <pc:sldMkLst>
          <pc:docMk/>
          <pc:sldMk cId="2797191857" sldId="261"/>
        </pc:sldMkLst>
      </pc:sldChg>
      <pc:sldChg chg="addSp delSp modSp del mod setBg">
        <pc:chgData name="Michael Nowak (MNOW)" userId="66b77b97-64ba-43b9-b188-bd23cab7d4bb" providerId="ADAL" clId="{07F72409-91A0-4F57-A7C3-9B3ECFC80C7E}" dt="2023-05-02T14:31:22.464" v="197" actId="47"/>
        <pc:sldMkLst>
          <pc:docMk/>
          <pc:sldMk cId="2904455388" sldId="262"/>
        </pc:sldMkLst>
        <pc:spChg chg="add del mod">
          <ac:chgData name="Michael Nowak (MNOW)" userId="66b77b97-64ba-43b9-b188-bd23cab7d4bb" providerId="ADAL" clId="{07F72409-91A0-4F57-A7C3-9B3ECFC80C7E}" dt="2023-05-02T14:28:44.599" v="161"/>
          <ac:spMkLst>
            <pc:docMk/>
            <pc:sldMk cId="2904455388" sldId="262"/>
            <ac:spMk id="2" creationId="{18E55506-8B88-ED0B-123A-227DD52BAD67}"/>
          </ac:spMkLst>
        </pc:spChg>
        <pc:spChg chg="add del mod">
          <ac:chgData name="Michael Nowak (MNOW)" userId="66b77b97-64ba-43b9-b188-bd23cab7d4bb" providerId="ADAL" clId="{07F72409-91A0-4F57-A7C3-9B3ECFC80C7E}" dt="2023-05-02T14:28:44.599" v="161"/>
          <ac:spMkLst>
            <pc:docMk/>
            <pc:sldMk cId="2904455388" sldId="262"/>
            <ac:spMk id="4" creationId="{9C126C8D-4316-4D35-410E-C1402A4BF33E}"/>
          </ac:spMkLst>
        </pc:spChg>
        <pc:spChg chg="add del mod">
          <ac:chgData name="Michael Nowak (MNOW)" userId="66b77b97-64ba-43b9-b188-bd23cab7d4bb" providerId="ADAL" clId="{07F72409-91A0-4F57-A7C3-9B3ECFC80C7E}" dt="2023-05-02T14:29:29.900" v="185" actId="1076"/>
          <ac:spMkLst>
            <pc:docMk/>
            <pc:sldMk cId="2904455388" sldId="262"/>
            <ac:spMk id="8" creationId="{D606EDF2-65D3-447A-A4B3-983685C84491}"/>
          </ac:spMkLst>
        </pc:spChg>
        <pc:spChg chg="add del mod">
          <ac:chgData name="Michael Nowak (MNOW)" userId="66b77b97-64ba-43b9-b188-bd23cab7d4bb" providerId="ADAL" clId="{07F72409-91A0-4F57-A7C3-9B3ECFC80C7E}" dt="2023-05-02T14:29:29.900" v="185" actId="1076"/>
          <ac:spMkLst>
            <pc:docMk/>
            <pc:sldMk cId="2904455388" sldId="262"/>
            <ac:spMk id="9" creationId="{CDCC3696-427A-478B-BB74-574E2F35D20F}"/>
          </ac:spMkLst>
        </pc:spChg>
      </pc:sldChg>
      <pc:sldChg chg="modSp del mod setBg modClrScheme chgLayout">
        <pc:chgData name="Michael Nowak (MNOW)" userId="66b77b97-64ba-43b9-b188-bd23cab7d4bb" providerId="ADAL" clId="{07F72409-91A0-4F57-A7C3-9B3ECFC80C7E}" dt="2023-05-02T14:23:26.167" v="70" actId="47"/>
        <pc:sldMkLst>
          <pc:docMk/>
          <pc:sldMk cId="1279746491" sldId="264"/>
        </pc:sldMkLst>
        <pc:spChg chg="mod">
          <ac:chgData name="Michael Nowak (MNOW)" userId="66b77b97-64ba-43b9-b188-bd23cab7d4bb" providerId="ADAL" clId="{07F72409-91A0-4F57-A7C3-9B3ECFC80C7E}" dt="2023-05-02T14:21:37.904" v="60" actId="2711"/>
          <ac:spMkLst>
            <pc:docMk/>
            <pc:sldMk cId="1279746491" sldId="264"/>
            <ac:spMk id="8" creationId="{D606EDF2-65D3-447A-A4B3-983685C84491}"/>
          </ac:spMkLst>
        </pc:spChg>
        <pc:spChg chg="mod">
          <ac:chgData name="Michael Nowak (MNOW)" userId="66b77b97-64ba-43b9-b188-bd23cab7d4bb" providerId="ADAL" clId="{07F72409-91A0-4F57-A7C3-9B3ECFC80C7E}" dt="2023-05-02T14:21:56.731" v="62" actId="207"/>
          <ac:spMkLst>
            <pc:docMk/>
            <pc:sldMk cId="1279746491" sldId="264"/>
            <ac:spMk id="9" creationId="{CDCC3696-427A-478B-BB74-574E2F35D20F}"/>
          </ac:spMkLst>
        </pc:spChg>
        <pc:spChg chg="mod">
          <ac:chgData name="Michael Nowak (MNOW)" userId="66b77b97-64ba-43b9-b188-bd23cab7d4bb" providerId="ADAL" clId="{07F72409-91A0-4F57-A7C3-9B3ECFC80C7E}" dt="2023-05-02T14:22:17.038" v="64" actId="2711"/>
          <ac:spMkLst>
            <pc:docMk/>
            <pc:sldMk cId="1279746491" sldId="264"/>
            <ac:spMk id="10" creationId="{32BD35AD-DDAD-469B-B31E-65E6D6711ACF}"/>
          </ac:spMkLst>
        </pc:spChg>
      </pc:sldChg>
      <pc:sldChg chg="del setBg">
        <pc:chgData name="Michael Nowak (MNOW)" userId="66b77b97-64ba-43b9-b188-bd23cab7d4bb" providerId="ADAL" clId="{07F72409-91A0-4F57-A7C3-9B3ECFC80C7E}" dt="2023-05-02T14:27:32.388" v="104" actId="47"/>
        <pc:sldMkLst>
          <pc:docMk/>
          <pc:sldMk cId="3026566015" sldId="265"/>
        </pc:sldMkLst>
      </pc:sldChg>
      <pc:sldChg chg="del setBg">
        <pc:chgData name="Michael Nowak (MNOW)" userId="66b77b97-64ba-43b9-b188-bd23cab7d4bb" providerId="ADAL" clId="{07F72409-91A0-4F57-A7C3-9B3ECFC80C7E}" dt="2023-05-02T14:28:14.397" v="136" actId="47"/>
        <pc:sldMkLst>
          <pc:docMk/>
          <pc:sldMk cId="2077366609" sldId="266"/>
        </pc:sldMkLst>
      </pc:sldChg>
      <pc:sldChg chg="del setBg">
        <pc:chgData name="Michael Nowak (MNOW)" userId="66b77b97-64ba-43b9-b188-bd23cab7d4bb" providerId="ADAL" clId="{07F72409-91A0-4F57-A7C3-9B3ECFC80C7E}" dt="2023-05-02T14:25:47.892" v="80" actId="47"/>
        <pc:sldMkLst>
          <pc:docMk/>
          <pc:sldMk cId="1866254948" sldId="267"/>
        </pc:sldMkLst>
      </pc:sldChg>
      <pc:sldChg chg="add del setBg">
        <pc:chgData name="Michael Nowak (MNOW)" userId="66b77b97-64ba-43b9-b188-bd23cab7d4bb" providerId="ADAL" clId="{07F72409-91A0-4F57-A7C3-9B3ECFC80C7E}" dt="2023-05-02T14:04:11.485" v="9"/>
        <pc:sldMkLst>
          <pc:docMk/>
          <pc:sldMk cId="63040194" sldId="268"/>
        </pc:sldMkLst>
      </pc:sldChg>
      <pc:sldChg chg="add del setBg">
        <pc:chgData name="Michael Nowak (MNOW)" userId="66b77b97-64ba-43b9-b188-bd23cab7d4bb" providerId="ADAL" clId="{07F72409-91A0-4F57-A7C3-9B3ECFC80C7E}" dt="2023-05-02T14:04:07.370" v="7" actId="47"/>
        <pc:sldMkLst>
          <pc:docMk/>
          <pc:sldMk cId="780876045" sldId="268"/>
        </pc:sldMkLst>
      </pc:sldChg>
      <pc:sldChg chg="add del setBg">
        <pc:chgData name="Michael Nowak (MNOW)" userId="66b77b97-64ba-43b9-b188-bd23cab7d4bb" providerId="ADAL" clId="{07F72409-91A0-4F57-A7C3-9B3ECFC80C7E}" dt="2023-05-02T14:11:14.523" v="12" actId="47"/>
        <pc:sldMkLst>
          <pc:docMk/>
          <pc:sldMk cId="3375891110" sldId="268"/>
        </pc:sldMkLst>
      </pc:sldChg>
      <pc:sldChg chg="addSp delSp modSp add del mod setBg modClrScheme chgLayout">
        <pc:chgData name="Michael Nowak (MNOW)" userId="66b77b97-64ba-43b9-b188-bd23cab7d4bb" providerId="ADAL" clId="{07F72409-91A0-4F57-A7C3-9B3ECFC80C7E}" dt="2023-05-02T14:19:31.536" v="58" actId="47"/>
        <pc:sldMkLst>
          <pc:docMk/>
          <pc:sldMk cId="860666801" sldId="269"/>
        </pc:sldMkLst>
        <pc:spChg chg="add del">
          <ac:chgData name="Michael Nowak (MNOW)" userId="66b77b97-64ba-43b9-b188-bd23cab7d4bb" providerId="ADAL" clId="{07F72409-91A0-4F57-A7C3-9B3ECFC80C7E}" dt="2023-05-02T14:17:32.961" v="45" actId="478"/>
          <ac:spMkLst>
            <pc:docMk/>
            <pc:sldMk cId="860666801" sldId="269"/>
            <ac:spMk id="2" creationId="{43E3EED3-DA7B-3486-D8FD-F94B7F275F87}"/>
          </ac:spMkLst>
        </pc:spChg>
        <pc:spChg chg="add del mod ord">
          <ac:chgData name="Michael Nowak (MNOW)" userId="66b77b97-64ba-43b9-b188-bd23cab7d4bb" providerId="ADAL" clId="{07F72409-91A0-4F57-A7C3-9B3ECFC80C7E}" dt="2023-05-02T14:16:42.385" v="40" actId="478"/>
          <ac:spMkLst>
            <pc:docMk/>
            <pc:sldMk cId="860666801" sldId="269"/>
            <ac:spMk id="8" creationId="{D606EDF2-65D3-447A-A4B3-983685C84491}"/>
          </ac:spMkLst>
        </pc:spChg>
        <pc:spChg chg="add del mod">
          <ac:chgData name="Michael Nowak (MNOW)" userId="66b77b97-64ba-43b9-b188-bd23cab7d4bb" providerId="ADAL" clId="{07F72409-91A0-4F57-A7C3-9B3ECFC80C7E}" dt="2023-05-02T14:16:42.385" v="40" actId="478"/>
          <ac:spMkLst>
            <pc:docMk/>
            <pc:sldMk cId="860666801" sldId="269"/>
            <ac:spMk id="10" creationId="{32BD35AD-DDAD-469B-B31E-65E6D6711ACF}"/>
          </ac:spMkLst>
        </pc:spChg>
        <pc:spChg chg="add del mod">
          <ac:chgData name="Michael Nowak (MNOW)" userId="66b77b97-64ba-43b9-b188-bd23cab7d4bb" providerId="ADAL" clId="{07F72409-91A0-4F57-A7C3-9B3ECFC80C7E}" dt="2023-05-02T14:13:56.193" v="24" actId="26606"/>
          <ac:spMkLst>
            <pc:docMk/>
            <pc:sldMk cId="860666801" sldId="269"/>
            <ac:spMk id="15" creationId="{F3EB19BA-9838-CADA-1EBA-6D1A6950C269}"/>
          </ac:spMkLst>
        </pc:spChg>
        <pc:spChg chg="add del mod">
          <ac:chgData name="Michael Nowak (MNOW)" userId="66b77b97-64ba-43b9-b188-bd23cab7d4bb" providerId="ADAL" clId="{07F72409-91A0-4F57-A7C3-9B3ECFC80C7E}" dt="2023-05-02T14:13:56.193" v="24" actId="26606"/>
          <ac:spMkLst>
            <pc:docMk/>
            <pc:sldMk cId="860666801" sldId="269"/>
            <ac:spMk id="17" creationId="{9DD54496-82B5-4727-B071-30CE85AA6516}"/>
          </ac:spMkLst>
        </pc:spChg>
        <pc:spChg chg="add del mod">
          <ac:chgData name="Michael Nowak (MNOW)" userId="66b77b97-64ba-43b9-b188-bd23cab7d4bb" providerId="ADAL" clId="{07F72409-91A0-4F57-A7C3-9B3ECFC80C7E}" dt="2023-05-02T14:13:57.128" v="26" actId="26606"/>
          <ac:spMkLst>
            <pc:docMk/>
            <pc:sldMk cId="860666801" sldId="269"/>
            <ac:spMk id="19" creationId="{4610552B-C22C-0423-25FA-1B373E147A13}"/>
          </ac:spMkLst>
        </pc:spChg>
        <pc:spChg chg="add del mod">
          <ac:chgData name="Michael Nowak (MNOW)" userId="66b77b97-64ba-43b9-b188-bd23cab7d4bb" providerId="ADAL" clId="{07F72409-91A0-4F57-A7C3-9B3ECFC80C7E}" dt="2023-05-02T14:13:58.062" v="28" actId="26606"/>
          <ac:spMkLst>
            <pc:docMk/>
            <pc:sldMk cId="860666801" sldId="269"/>
            <ac:spMk id="21" creationId="{86C2D472-D56E-933A-9645-B35559D67AFE}"/>
          </ac:spMkLst>
        </pc:spChg>
        <pc:spChg chg="add del mod">
          <ac:chgData name="Michael Nowak (MNOW)" userId="66b77b97-64ba-43b9-b188-bd23cab7d4bb" providerId="ADAL" clId="{07F72409-91A0-4F57-A7C3-9B3ECFC80C7E}" dt="2023-05-02T14:13:59.374" v="30" actId="26606"/>
          <ac:spMkLst>
            <pc:docMk/>
            <pc:sldMk cId="860666801" sldId="269"/>
            <ac:spMk id="23" creationId="{938C5060-143C-0B47-00E1-C19D8A410448}"/>
          </ac:spMkLst>
        </pc:spChg>
        <pc:spChg chg="add del mod">
          <ac:chgData name="Michael Nowak (MNOW)" userId="66b77b97-64ba-43b9-b188-bd23cab7d4bb" providerId="ADAL" clId="{07F72409-91A0-4F57-A7C3-9B3ECFC80C7E}" dt="2023-05-02T14:14:01.326" v="32" actId="26606"/>
          <ac:spMkLst>
            <pc:docMk/>
            <pc:sldMk cId="860666801" sldId="269"/>
            <ac:spMk id="25" creationId="{9CE933B9-91C0-5DAE-110B-4448D7C0910F}"/>
          </ac:spMkLst>
        </pc:spChg>
        <pc:spChg chg="add del mod">
          <ac:chgData name="Michael Nowak (MNOW)" userId="66b77b97-64ba-43b9-b188-bd23cab7d4bb" providerId="ADAL" clId="{07F72409-91A0-4F57-A7C3-9B3ECFC80C7E}" dt="2023-05-02T14:14:01.326" v="32" actId="26606"/>
          <ac:spMkLst>
            <pc:docMk/>
            <pc:sldMk cId="860666801" sldId="269"/>
            <ac:spMk id="26" creationId="{6F9D0AA2-644B-F531-19D2-C4BCC4FA3BAA}"/>
          </ac:spMkLst>
        </pc:spChg>
        <pc:spChg chg="add del mod">
          <ac:chgData name="Michael Nowak (MNOW)" userId="66b77b97-64ba-43b9-b188-bd23cab7d4bb" providerId="ADAL" clId="{07F72409-91A0-4F57-A7C3-9B3ECFC80C7E}" dt="2023-05-02T14:14:01.326" v="32" actId="26606"/>
          <ac:spMkLst>
            <pc:docMk/>
            <pc:sldMk cId="860666801" sldId="269"/>
            <ac:spMk id="27" creationId="{8E69FE85-0F83-78E2-7CA9-52787CD14859}"/>
          </ac:spMkLst>
        </pc:spChg>
        <pc:spChg chg="add del mod">
          <ac:chgData name="Michael Nowak (MNOW)" userId="66b77b97-64ba-43b9-b188-bd23cab7d4bb" providerId="ADAL" clId="{07F72409-91A0-4F57-A7C3-9B3ECFC80C7E}" dt="2023-05-02T14:14:04.775" v="34" actId="478"/>
          <ac:spMkLst>
            <pc:docMk/>
            <pc:sldMk cId="860666801" sldId="269"/>
            <ac:spMk id="29" creationId="{790BDFF0-E4FB-44F7-2D41-550DF54A846D}"/>
          </ac:spMkLst>
        </pc:spChg>
        <pc:spChg chg="add del mod">
          <ac:chgData name="Michael Nowak (MNOW)" userId="66b77b97-64ba-43b9-b188-bd23cab7d4bb" providerId="ADAL" clId="{07F72409-91A0-4F57-A7C3-9B3ECFC80C7E}" dt="2023-05-02T14:14:07.965" v="35" actId="478"/>
          <ac:spMkLst>
            <pc:docMk/>
            <pc:sldMk cId="860666801" sldId="269"/>
            <ac:spMk id="30" creationId="{A4718B56-494D-521D-D80B-7B9AECF86A4E}"/>
          </ac:spMkLst>
        </pc:spChg>
      </pc:sldChg>
      <pc:sldChg chg="new del">
        <pc:chgData name="Michael Nowak (MNOW)" userId="66b77b97-64ba-43b9-b188-bd23cab7d4bb" providerId="ADAL" clId="{07F72409-91A0-4F57-A7C3-9B3ECFC80C7E}" dt="2023-05-02T14:11:30.720" v="14" actId="47"/>
        <pc:sldMkLst>
          <pc:docMk/>
          <pc:sldMk cId="221560997" sldId="270"/>
        </pc:sldMkLst>
      </pc:sldChg>
      <pc:sldChg chg="add del">
        <pc:chgData name="Michael Nowak (MNOW)" userId="66b77b97-64ba-43b9-b188-bd23cab7d4bb" providerId="ADAL" clId="{07F72409-91A0-4F57-A7C3-9B3ECFC80C7E}" dt="2023-05-02T14:12:23.395" v="19" actId="47"/>
        <pc:sldMkLst>
          <pc:docMk/>
          <pc:sldMk cId="1346988805" sldId="270"/>
        </pc:sldMkLst>
      </pc:sldChg>
      <pc:sldChg chg="add del">
        <pc:chgData name="Michael Nowak (MNOW)" userId="66b77b97-64ba-43b9-b188-bd23cab7d4bb" providerId="ADAL" clId="{07F72409-91A0-4F57-A7C3-9B3ECFC80C7E}" dt="2023-05-02T14:19:31.536" v="58" actId="47"/>
        <pc:sldMkLst>
          <pc:docMk/>
          <pc:sldMk cId="2203717792" sldId="270"/>
        </pc:sldMkLst>
      </pc:sldChg>
      <pc:sldChg chg="addSp delSp modSp add mod">
        <pc:chgData name="Michael Nowak (MNOW)" userId="66b77b97-64ba-43b9-b188-bd23cab7d4bb" providerId="ADAL" clId="{07F72409-91A0-4F57-A7C3-9B3ECFC80C7E}" dt="2023-05-02T14:23:43.965" v="71" actId="255"/>
        <pc:sldMkLst>
          <pc:docMk/>
          <pc:sldMk cId="3978165947" sldId="271"/>
        </pc:sldMkLst>
        <pc:spChg chg="add mod">
          <ac:chgData name="Michael Nowak (MNOW)" userId="66b77b97-64ba-43b9-b188-bd23cab7d4bb" providerId="ADAL" clId="{07F72409-91A0-4F57-A7C3-9B3ECFC80C7E}" dt="2023-05-02T14:23:15.756" v="69"/>
          <ac:spMkLst>
            <pc:docMk/>
            <pc:sldMk cId="3978165947" sldId="271"/>
            <ac:spMk id="2" creationId="{0965E6AF-F175-D6DA-FDEC-DDBF247DA6B7}"/>
          </ac:spMkLst>
        </pc:spChg>
        <pc:spChg chg="add mod">
          <ac:chgData name="Michael Nowak (MNOW)" userId="66b77b97-64ba-43b9-b188-bd23cab7d4bb" providerId="ADAL" clId="{07F72409-91A0-4F57-A7C3-9B3ECFC80C7E}" dt="2023-05-02T14:23:15.756" v="69"/>
          <ac:spMkLst>
            <pc:docMk/>
            <pc:sldMk cId="3978165947" sldId="271"/>
            <ac:spMk id="3" creationId="{D5BA041D-8B98-DCB4-7885-2D7949AB695D}"/>
          </ac:spMkLst>
        </pc:spChg>
        <pc:spChg chg="add mod">
          <ac:chgData name="Michael Nowak (MNOW)" userId="66b77b97-64ba-43b9-b188-bd23cab7d4bb" providerId="ADAL" clId="{07F72409-91A0-4F57-A7C3-9B3ECFC80C7E}" dt="2023-05-02T14:23:43.965" v="71" actId="255"/>
          <ac:spMkLst>
            <pc:docMk/>
            <pc:sldMk cId="3978165947" sldId="271"/>
            <ac:spMk id="4" creationId="{CAB3D974-0B21-61F9-125A-04464A5FA19B}"/>
          </ac:spMkLst>
        </pc:spChg>
        <pc:spChg chg="del">
          <ac:chgData name="Michael Nowak (MNOW)" userId="66b77b97-64ba-43b9-b188-bd23cab7d4bb" providerId="ADAL" clId="{07F72409-91A0-4F57-A7C3-9B3ECFC80C7E}" dt="2023-05-02T14:23:06.335" v="68" actId="478"/>
          <ac:spMkLst>
            <pc:docMk/>
            <pc:sldMk cId="3978165947" sldId="271"/>
            <ac:spMk id="8" creationId="{D606EDF2-65D3-447A-A4B3-983685C84491}"/>
          </ac:spMkLst>
        </pc:spChg>
        <pc:spChg chg="del">
          <ac:chgData name="Michael Nowak (MNOW)" userId="66b77b97-64ba-43b9-b188-bd23cab7d4bb" providerId="ADAL" clId="{07F72409-91A0-4F57-A7C3-9B3ECFC80C7E}" dt="2023-05-02T14:23:06.335" v="68" actId="478"/>
          <ac:spMkLst>
            <pc:docMk/>
            <pc:sldMk cId="3978165947" sldId="271"/>
            <ac:spMk id="9" creationId="{CDCC3696-427A-478B-BB74-574E2F35D20F}"/>
          </ac:spMkLst>
        </pc:spChg>
        <pc:spChg chg="del">
          <ac:chgData name="Michael Nowak (MNOW)" userId="66b77b97-64ba-43b9-b188-bd23cab7d4bb" providerId="ADAL" clId="{07F72409-91A0-4F57-A7C3-9B3ECFC80C7E}" dt="2023-05-02T14:23:06.335" v="68" actId="478"/>
          <ac:spMkLst>
            <pc:docMk/>
            <pc:sldMk cId="3978165947" sldId="271"/>
            <ac:spMk id="10" creationId="{32BD35AD-DDAD-469B-B31E-65E6D6711ACF}"/>
          </ac:spMkLst>
        </pc:spChg>
      </pc:sldChg>
      <pc:sldChg chg="addSp delSp modSp add mod ord">
        <pc:chgData name="Michael Nowak (MNOW)" userId="66b77b97-64ba-43b9-b188-bd23cab7d4bb" providerId="ADAL" clId="{07F72409-91A0-4F57-A7C3-9B3ECFC80C7E}" dt="2023-05-02T14:33:57.824" v="200" actId="255"/>
        <pc:sldMkLst>
          <pc:docMk/>
          <pc:sldMk cId="4263757155" sldId="272"/>
        </pc:sldMkLst>
        <pc:spChg chg="add mod">
          <ac:chgData name="Michael Nowak (MNOW)" userId="66b77b97-64ba-43b9-b188-bd23cab7d4bb" providerId="ADAL" clId="{07F72409-91A0-4F57-A7C3-9B3ECFC80C7E}" dt="2023-05-02T14:33:57.824" v="200" actId="255"/>
          <ac:spMkLst>
            <pc:docMk/>
            <pc:sldMk cId="4263757155" sldId="272"/>
            <ac:spMk id="2" creationId="{4A20A3FD-9DC3-9D7A-7449-46EC301B1B5B}"/>
          </ac:spMkLst>
        </pc:spChg>
        <pc:spChg chg="add mod">
          <ac:chgData name="Michael Nowak (MNOW)" userId="66b77b97-64ba-43b9-b188-bd23cab7d4bb" providerId="ADAL" clId="{07F72409-91A0-4F57-A7C3-9B3ECFC80C7E}" dt="2023-05-02T14:18:42.840" v="54" actId="403"/>
          <ac:spMkLst>
            <pc:docMk/>
            <pc:sldMk cId="4263757155" sldId="272"/>
            <ac:spMk id="3" creationId="{16AD53BF-41AB-1860-7DAD-6AB652629137}"/>
          </ac:spMkLst>
        </pc:spChg>
        <pc:spChg chg="add mod">
          <ac:chgData name="Michael Nowak (MNOW)" userId="66b77b97-64ba-43b9-b188-bd23cab7d4bb" providerId="ADAL" clId="{07F72409-91A0-4F57-A7C3-9B3ECFC80C7E}" dt="2023-05-02T14:18:22.815" v="51" actId="2085"/>
          <ac:spMkLst>
            <pc:docMk/>
            <pc:sldMk cId="4263757155" sldId="272"/>
            <ac:spMk id="4" creationId="{6FF86396-5E86-4B85-3253-CCEF797309B7}"/>
          </ac:spMkLst>
        </pc:spChg>
        <pc:spChg chg="del">
          <ac:chgData name="Michael Nowak (MNOW)" userId="66b77b97-64ba-43b9-b188-bd23cab7d4bb" providerId="ADAL" clId="{07F72409-91A0-4F57-A7C3-9B3ECFC80C7E}" dt="2023-05-02T14:17:02.713" v="42" actId="478"/>
          <ac:spMkLst>
            <pc:docMk/>
            <pc:sldMk cId="4263757155" sldId="272"/>
            <ac:spMk id="8" creationId="{D606EDF2-65D3-447A-A4B3-983685C84491}"/>
          </ac:spMkLst>
        </pc:spChg>
        <pc:spChg chg="del">
          <ac:chgData name="Michael Nowak (MNOW)" userId="66b77b97-64ba-43b9-b188-bd23cab7d4bb" providerId="ADAL" clId="{07F72409-91A0-4F57-A7C3-9B3ECFC80C7E}" dt="2023-05-02T14:17:02.713" v="42" actId="478"/>
          <ac:spMkLst>
            <pc:docMk/>
            <pc:sldMk cId="4263757155" sldId="272"/>
            <ac:spMk id="10" creationId="{32BD35AD-DDAD-469B-B31E-65E6D6711ACF}"/>
          </ac:spMkLst>
        </pc:spChg>
      </pc:sldChg>
      <pc:sldChg chg="addSp modSp add mod">
        <pc:chgData name="Michael Nowak (MNOW)" userId="66b77b97-64ba-43b9-b188-bd23cab7d4bb" providerId="ADAL" clId="{07F72409-91A0-4F57-A7C3-9B3ECFC80C7E}" dt="2023-05-02T14:25:42.304" v="79" actId="14100"/>
        <pc:sldMkLst>
          <pc:docMk/>
          <pc:sldMk cId="864567769" sldId="273"/>
        </pc:sldMkLst>
        <pc:spChg chg="mod">
          <ac:chgData name="Michael Nowak (MNOW)" userId="66b77b97-64ba-43b9-b188-bd23cab7d4bb" providerId="ADAL" clId="{07F72409-91A0-4F57-A7C3-9B3ECFC80C7E}" dt="2023-05-02T14:25:42.304" v="79" actId="14100"/>
          <ac:spMkLst>
            <pc:docMk/>
            <pc:sldMk cId="864567769" sldId="273"/>
            <ac:spMk id="4" creationId="{CAB3D974-0B21-61F9-125A-04464A5FA19B}"/>
          </ac:spMkLst>
        </pc:spChg>
        <pc:picChg chg="add mod">
          <ac:chgData name="Michael Nowak (MNOW)" userId="66b77b97-64ba-43b9-b188-bd23cab7d4bb" providerId="ADAL" clId="{07F72409-91A0-4F57-A7C3-9B3ECFC80C7E}" dt="2023-05-02T14:24:56.519" v="74" actId="1076"/>
          <ac:picMkLst>
            <pc:docMk/>
            <pc:sldMk cId="864567769" sldId="273"/>
            <ac:picMk id="5" creationId="{AA283623-7533-4D11-91D5-C22A63BB6B96}"/>
          </ac:picMkLst>
        </pc:picChg>
      </pc:sldChg>
      <pc:sldChg chg="addSp delSp modSp add mod">
        <pc:chgData name="Michael Nowak (MNOW)" userId="66b77b97-64ba-43b9-b188-bd23cab7d4bb" providerId="ADAL" clId="{07F72409-91A0-4F57-A7C3-9B3ECFC80C7E}" dt="2023-05-02T14:27:25.899" v="103" actId="1076"/>
        <pc:sldMkLst>
          <pc:docMk/>
          <pc:sldMk cId="2270363937" sldId="274"/>
        </pc:sldMkLst>
        <pc:spChg chg="mod">
          <ac:chgData name="Michael Nowak (MNOW)" userId="66b77b97-64ba-43b9-b188-bd23cab7d4bb" providerId="ADAL" clId="{07F72409-91A0-4F57-A7C3-9B3ECFC80C7E}" dt="2023-05-02T14:26:17.675" v="99" actId="20577"/>
          <ac:spMkLst>
            <pc:docMk/>
            <pc:sldMk cId="2270363937" sldId="274"/>
            <ac:spMk id="2" creationId="{0965E6AF-F175-D6DA-FDEC-DDBF247DA6B7}"/>
          </ac:spMkLst>
        </pc:spChg>
        <pc:spChg chg="del">
          <ac:chgData name="Michael Nowak (MNOW)" userId="66b77b97-64ba-43b9-b188-bd23cab7d4bb" providerId="ADAL" clId="{07F72409-91A0-4F57-A7C3-9B3ECFC80C7E}" dt="2023-05-02T14:26:11.337" v="84" actId="478"/>
          <ac:spMkLst>
            <pc:docMk/>
            <pc:sldMk cId="2270363937" sldId="274"/>
            <ac:spMk id="3" creationId="{D5BA041D-8B98-DCB4-7885-2D7949AB695D}"/>
          </ac:spMkLst>
        </pc:spChg>
        <pc:spChg chg="del">
          <ac:chgData name="Michael Nowak (MNOW)" userId="66b77b97-64ba-43b9-b188-bd23cab7d4bb" providerId="ADAL" clId="{07F72409-91A0-4F57-A7C3-9B3ECFC80C7E}" dt="2023-05-02T14:26:09.153" v="82" actId="478"/>
          <ac:spMkLst>
            <pc:docMk/>
            <pc:sldMk cId="2270363937" sldId="274"/>
            <ac:spMk id="4" creationId="{CAB3D974-0B21-61F9-125A-04464A5FA19B}"/>
          </ac:spMkLst>
        </pc:spChg>
        <pc:spChg chg="add del mod">
          <ac:chgData name="Michael Nowak (MNOW)" userId="66b77b97-64ba-43b9-b188-bd23cab7d4bb" providerId="ADAL" clId="{07F72409-91A0-4F57-A7C3-9B3ECFC80C7E}" dt="2023-05-02T14:27:00.866" v="101" actId="478"/>
          <ac:spMkLst>
            <pc:docMk/>
            <pc:sldMk cId="2270363937" sldId="274"/>
            <ac:spMk id="22" creationId="{AF729991-60CC-2F2A-0C29-C195EC214A99}"/>
          </ac:spMkLst>
        </pc:spChg>
        <pc:picChg chg="del">
          <ac:chgData name="Michael Nowak (MNOW)" userId="66b77b97-64ba-43b9-b188-bd23cab7d4bb" providerId="ADAL" clId="{07F72409-91A0-4F57-A7C3-9B3ECFC80C7E}" dt="2023-05-02T14:26:09.929" v="83" actId="478"/>
          <ac:picMkLst>
            <pc:docMk/>
            <pc:sldMk cId="2270363937" sldId="274"/>
            <ac:picMk id="5" creationId="{AA283623-7533-4D11-91D5-C22A63BB6B96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6" creationId="{88A3FDAC-25CD-55A2-7326-707B4B52F69C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7" creationId="{9F7BBF6C-0BF3-A741-B70C-DE50D4FA94B9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8" creationId="{63AA8AC1-2A13-A9A6-7952-C5FA293E8712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9" creationId="{B72C4A82-19E4-095F-6109-33FCF25383C8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10" creationId="{F4360CC8-604E-8494-05CA-0D5BDC5A8252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11" creationId="{9C654193-110F-83D6-6001-9221F22DDAB5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12" creationId="{6926458E-FEAD-408A-B1DA-4E0461D969D4}"/>
          </ac:picMkLst>
        </pc:picChg>
        <pc:picChg chg="add mod">
          <ac:chgData name="Michael Nowak (MNOW)" userId="66b77b97-64ba-43b9-b188-bd23cab7d4bb" providerId="ADAL" clId="{07F72409-91A0-4F57-A7C3-9B3ECFC80C7E}" dt="2023-05-02T14:27:25.899" v="103" actId="1076"/>
          <ac:picMkLst>
            <pc:docMk/>
            <pc:sldMk cId="2270363937" sldId="274"/>
            <ac:picMk id="13" creationId="{012965F9-016A-59DB-B73C-3EE5B255B3F5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4" creationId="{42224D35-955F-58AF-6BA1-1E882DFDBC6E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5" creationId="{3EFA958C-D405-6F7A-404E-BB87594EA0CB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6" creationId="{9B2F6F75-3710-EDF9-B768-E328A8548547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7" creationId="{4C1418F0-27B6-42EA-BF8C-707C1750F55C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8" creationId="{74755337-CB13-5919-EC30-4B7A786B6FB7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19" creationId="{8DC63C49-FBB0-B5F8-5B6A-F45FBCCD8D91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20" creationId="{8580C0A2-EB5B-5D53-C1EE-5053803BDD68}"/>
          </ac:picMkLst>
        </pc:picChg>
        <pc:picChg chg="add mod">
          <ac:chgData name="Michael Nowak (MNOW)" userId="66b77b97-64ba-43b9-b188-bd23cab7d4bb" providerId="ADAL" clId="{07F72409-91A0-4F57-A7C3-9B3ECFC80C7E}" dt="2023-05-02T14:27:12.962" v="102" actId="1076"/>
          <ac:picMkLst>
            <pc:docMk/>
            <pc:sldMk cId="2270363937" sldId="274"/>
            <ac:picMk id="21" creationId="{2CA7CFE8-E3DB-7A02-5EE8-6C9E5CF7BCC9}"/>
          </ac:picMkLst>
        </pc:picChg>
      </pc:sldChg>
      <pc:sldChg chg="addSp delSp modSp add mod">
        <pc:chgData name="Michael Nowak (MNOW)" userId="66b77b97-64ba-43b9-b188-bd23cab7d4bb" providerId="ADAL" clId="{07F72409-91A0-4F57-A7C3-9B3ECFC80C7E}" dt="2023-05-02T14:28:11.551" v="135" actId="1076"/>
        <pc:sldMkLst>
          <pc:docMk/>
          <pc:sldMk cId="804883440" sldId="275"/>
        </pc:sldMkLst>
        <pc:spChg chg="mod">
          <ac:chgData name="Michael Nowak (MNOW)" userId="66b77b97-64ba-43b9-b188-bd23cab7d4bb" providerId="ADAL" clId="{07F72409-91A0-4F57-A7C3-9B3ECFC80C7E}" dt="2023-05-02T14:27:50.763" v="117" actId="20577"/>
          <ac:spMkLst>
            <pc:docMk/>
            <pc:sldMk cId="804883440" sldId="275"/>
            <ac:spMk id="2" creationId="{0965E6AF-F175-D6DA-FDEC-DDBF247DA6B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" creationId="{E0EFB524-F4E3-4DB0-AD01-137D6D95DF7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" creationId="{850DA2CC-1231-DBBA-1B50-3065D6AE574B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2" creationId="{9511942F-A2F4-730F-4EE1-19490C26834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3" creationId="{1FB117A1-3243-A849-C461-FBB7791FC81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4" creationId="{7F6AA26D-1BBE-32DB-FDC8-941ED2658ED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5" creationId="{E84310D5-4765-1FA5-2B80-4554A327AC0B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6" creationId="{BA2AF0A1-2728-72FA-F62C-381972F2A073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7" creationId="{C891510F-A370-3085-ADF7-E6D8E8D4C94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8" creationId="{693F8A76-9396-DE6A-DF5D-4267498753A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29" creationId="{66FAC155-EEE5-595E-5D38-D89DDF68A10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0" creationId="{28291514-BAE1-9CB1-EABD-0995B98D1A7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1" creationId="{7EA77360-7D44-39A7-184C-4DC266A6111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2" creationId="{0269A94E-2880-240A-BAF4-E690D5ACA2F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3" creationId="{83780CFA-DCA7-E365-B82E-BE0A6B8C17F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4" creationId="{DAA209D0-AF54-C996-BB0D-F24BEA51971D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5" creationId="{6015B10F-C248-0CC8-088B-570A61E205D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6" creationId="{34678090-30C7-4AE4-409A-BE50AEFAC773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7" creationId="{6D748AA3-DE58-1832-453B-0E8D8F6B214C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8" creationId="{6641982D-68C6-DB43-5998-61E2863E9A2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39" creationId="{CF0BDF1B-0EF3-0B4F-43FA-51B37E56BDB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0" creationId="{46E1B864-8FF1-8D3E-A2BF-6D7C514D37B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1" creationId="{E4848987-2EBF-0AB0-1F1D-4B50E1379263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2" creationId="{BE06B916-8AF7-89AB-CE09-1A6F5CC2FE86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3" creationId="{267DC783-043C-DB8A-9C9B-951165C38C3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4" creationId="{66EAB334-6B7C-B22C-767E-F325E796C22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5" creationId="{C74E3BD8-1236-608A-C66C-F7994BFB965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6" creationId="{CF183763-0EC5-D819-0329-86DB0820826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7" creationId="{CA8B88D0-5AFA-E21B-5241-7A604CBC64E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8" creationId="{6B62B10A-1D99-7201-92CD-59D4558F73A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49" creationId="{C78B7ECA-73F6-8CD8-34CB-98F78AE192E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0" creationId="{32B32AAC-FF32-08EA-7B63-3B9C3F6C380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1" creationId="{1D02D43F-CF8E-B936-D49E-A9F80A0B53ED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2" creationId="{F927C36E-F8E7-2716-B458-95F79C763E7C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3" creationId="{F5416F43-DF95-0A39-CCB3-A45E427F67A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4" creationId="{808210BE-6D7B-4D34-5161-6B8FD68FBF8D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5" creationId="{F73660E0-9E80-E904-2C1C-6242D76147C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6" creationId="{67AA455C-BEAF-0305-8073-D8DD0EAED2D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7" creationId="{A36501B6-FB01-613B-CFE5-5DCBE88776C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8" creationId="{A795D9A9-F601-3538-2487-59C1CA4B621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59" creationId="{4B89604A-C510-8070-BF40-F0C46E619C4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0" creationId="{901B880F-6BD0-51F1-CD60-6E565204617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1" creationId="{920FD2E7-AC6B-4FA3-BA54-61A10875FEA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2" creationId="{FD9CBB0A-41F6-F6C1-2274-B86C0320A22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3" creationId="{D10E87DB-B6ED-A7C7-FD70-A96FA093D0D3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4" creationId="{5CA72FFC-4D32-B79C-D469-3A9EAD39C63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5" creationId="{52CD4D3B-B22F-BB0F-2903-18ACDF519DE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6" creationId="{4D57B58F-B145-A78D-2696-F0B247051CA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7" creationId="{FF4BDAD7-EF2E-ECFB-EC2D-67BF5235A12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8" creationId="{3BFB2AB4-3748-1414-2085-F76E62F51D2C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69" creationId="{ECE01CE5-FC11-0EE2-D9A4-D74889E9E9D6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0" creationId="{ED926F66-4299-07DA-CE21-E1FE0CF5E87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1" creationId="{9F9963E4-8A5E-58CB-B4A7-A7B628E84B1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2" creationId="{7AFB28D4-B39F-BF91-FCA4-B5CC9AFBD3CF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3" creationId="{F1375BD0-30CF-756A-BAB4-480742A58C0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4" creationId="{E9C31018-4FDE-D118-43C9-77187B89858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5" creationId="{87782522-1FA0-A084-1488-EAF8806CCBFC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6" creationId="{77988B42-BFDC-97FE-517B-DC1C10F56C8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7" creationId="{3F4460B7-1667-E782-2013-3FF1A3BDCF0F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8" creationId="{1E3BBE65-4BCD-67F5-27F7-3B2EEC0539DD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79" creationId="{D1166D8D-8B8C-2D6D-9077-ECDB1A62136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0" creationId="{509C0F8C-B97C-E2E5-543E-19C8D57A8AA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1" creationId="{9AAD5BB7-DF55-6E11-A970-1D0B05DCE5C6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2" creationId="{8AF6D321-9B6E-C05D-3F1E-7C31E47B5C6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3" creationId="{EACC986A-1A1D-7A34-7384-AD0423B5BD3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4" creationId="{42CAED2F-0368-34FB-6EE1-BD2BDA8CED4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5" creationId="{A75F373D-C66B-87D9-5A3F-EF35EBF5668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6" creationId="{4897C669-74F4-88DE-563B-C9515BE13DEB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7" creationId="{FB7479AD-92CB-5E95-9BEA-6AD249EBCD1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8" creationId="{86AE268E-BECB-87D1-EC20-821992E86319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89" creationId="{787171AB-DD02-FC08-3ED7-0034624062E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0" creationId="{D8608505-984B-09C7-9E76-9ACFAB1838F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1" creationId="{A2F28E81-8DB5-ACEE-907E-1328FF7962C8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2" creationId="{73CD3666-25DC-EDB8-F948-569DBE7BF574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3" creationId="{80662470-8037-1675-DE81-D5F38138AA7C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4" creationId="{7EF69BEA-CEB2-00C4-2D67-ECBEB621428E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5" creationId="{D1BF0A1F-1D19-F470-3955-346864CCA117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6" creationId="{96002347-1FF8-3AA1-4F14-04B1E905F7F3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7" creationId="{6DB45601-EB26-20FA-3DA0-3D9240A4B176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8" creationId="{B19B5C34-7A09-6E74-70A2-65B470A454A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99" creationId="{D9D251A9-AE73-6E58-CC6E-FCA37C170CE1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0" creationId="{D12344D1-BC73-FD14-DBAD-258EC3B81E50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1" creationId="{8C70061B-7934-7C92-D01D-9F47CD24AEAA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2" creationId="{A406CD14-946B-1C37-676D-12F6EA8CAF38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3" creationId="{6217CB8F-F0DF-53D8-7D01-36B29CE459B5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4" creationId="{D2F4FE66-D2C1-EFE6-4339-4CA13510699F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5" creationId="{3FA74BB1-900C-6FD7-5651-ED2980236812}"/>
          </ac:spMkLst>
        </pc:spChg>
        <pc:spChg chg="mod">
          <ac:chgData name="Michael Nowak (MNOW)" userId="66b77b97-64ba-43b9-b188-bd23cab7d4bb" providerId="ADAL" clId="{07F72409-91A0-4F57-A7C3-9B3ECFC80C7E}" dt="2023-05-02T14:28:08.553" v="134"/>
          <ac:spMkLst>
            <pc:docMk/>
            <pc:sldMk cId="804883440" sldId="275"/>
            <ac:spMk id="106" creationId="{88CC941C-B9B3-BC2C-CA6A-852FC3C24569}"/>
          </ac:spMkLst>
        </pc:spChg>
        <pc:grpChg chg="add mod">
          <ac:chgData name="Michael Nowak (MNOW)" userId="66b77b97-64ba-43b9-b188-bd23cab7d4bb" providerId="ADAL" clId="{07F72409-91A0-4F57-A7C3-9B3ECFC80C7E}" dt="2023-05-02T14:28:11.551" v="135" actId="1076"/>
          <ac:grpSpMkLst>
            <pc:docMk/>
            <pc:sldMk cId="804883440" sldId="275"/>
            <ac:grpSpMk id="3" creationId="{7A9588EB-29EE-1084-9D0E-F6FBEB78A6DF}"/>
          </ac:grpSpMkLst>
        </pc:grpChg>
        <pc:picChg chg="del">
          <ac:chgData name="Michael Nowak (MNOW)" userId="66b77b97-64ba-43b9-b188-bd23cab7d4bb" providerId="ADAL" clId="{07F72409-91A0-4F57-A7C3-9B3ECFC80C7E}" dt="2023-05-02T14:27:58.027" v="129" actId="478"/>
          <ac:picMkLst>
            <pc:docMk/>
            <pc:sldMk cId="804883440" sldId="275"/>
            <ac:picMk id="6" creationId="{88A3FDAC-25CD-55A2-7326-707B4B52F69C}"/>
          </ac:picMkLst>
        </pc:picChg>
        <pc:picChg chg="del">
          <ac:chgData name="Michael Nowak (MNOW)" userId="66b77b97-64ba-43b9-b188-bd23cab7d4bb" providerId="ADAL" clId="{07F72409-91A0-4F57-A7C3-9B3ECFC80C7E}" dt="2023-05-02T14:27:58.835" v="131" actId="478"/>
          <ac:picMkLst>
            <pc:docMk/>
            <pc:sldMk cId="804883440" sldId="275"/>
            <ac:picMk id="7" creationId="{9F7BBF6C-0BF3-A741-B70C-DE50D4FA94B9}"/>
          </ac:picMkLst>
        </pc:picChg>
        <pc:picChg chg="del">
          <ac:chgData name="Michael Nowak (MNOW)" userId="66b77b97-64ba-43b9-b188-bd23cab7d4bb" providerId="ADAL" clId="{07F72409-91A0-4F57-A7C3-9B3ECFC80C7E}" dt="2023-05-02T14:27:59.941" v="133" actId="478"/>
          <ac:picMkLst>
            <pc:docMk/>
            <pc:sldMk cId="804883440" sldId="275"/>
            <ac:picMk id="8" creationId="{63AA8AC1-2A13-A9A6-7952-C5FA293E8712}"/>
          </ac:picMkLst>
        </pc:picChg>
        <pc:picChg chg="del">
          <ac:chgData name="Michael Nowak (MNOW)" userId="66b77b97-64ba-43b9-b188-bd23cab7d4bb" providerId="ADAL" clId="{07F72409-91A0-4F57-A7C3-9B3ECFC80C7E}" dt="2023-05-02T14:27:56.664" v="126" actId="478"/>
          <ac:picMkLst>
            <pc:docMk/>
            <pc:sldMk cId="804883440" sldId="275"/>
            <ac:picMk id="9" creationId="{B72C4A82-19E4-095F-6109-33FCF25383C8}"/>
          </ac:picMkLst>
        </pc:picChg>
        <pc:picChg chg="del">
          <ac:chgData name="Michael Nowak (MNOW)" userId="66b77b97-64ba-43b9-b188-bd23cab7d4bb" providerId="ADAL" clId="{07F72409-91A0-4F57-A7C3-9B3ECFC80C7E}" dt="2023-05-02T14:27:57.460" v="128" actId="478"/>
          <ac:picMkLst>
            <pc:docMk/>
            <pc:sldMk cId="804883440" sldId="275"/>
            <ac:picMk id="10" creationId="{F4360CC8-604E-8494-05CA-0D5BDC5A8252}"/>
          </ac:picMkLst>
        </pc:picChg>
        <pc:picChg chg="del">
          <ac:chgData name="Michael Nowak (MNOW)" userId="66b77b97-64ba-43b9-b188-bd23cab7d4bb" providerId="ADAL" clId="{07F72409-91A0-4F57-A7C3-9B3ECFC80C7E}" dt="2023-05-02T14:27:59.259" v="132" actId="478"/>
          <ac:picMkLst>
            <pc:docMk/>
            <pc:sldMk cId="804883440" sldId="275"/>
            <ac:picMk id="11" creationId="{9C654193-110F-83D6-6001-9221F22DDAB5}"/>
          </ac:picMkLst>
        </pc:picChg>
        <pc:picChg chg="del">
          <ac:chgData name="Michael Nowak (MNOW)" userId="66b77b97-64ba-43b9-b188-bd23cab7d4bb" providerId="ADAL" clId="{07F72409-91A0-4F57-A7C3-9B3ECFC80C7E}" dt="2023-05-02T14:27:58.606" v="130" actId="478"/>
          <ac:picMkLst>
            <pc:docMk/>
            <pc:sldMk cId="804883440" sldId="275"/>
            <ac:picMk id="12" creationId="{6926458E-FEAD-408A-B1DA-4E0461D969D4}"/>
          </ac:picMkLst>
        </pc:picChg>
        <pc:picChg chg="del">
          <ac:chgData name="Michael Nowak (MNOW)" userId="66b77b97-64ba-43b9-b188-bd23cab7d4bb" providerId="ADAL" clId="{07F72409-91A0-4F57-A7C3-9B3ECFC80C7E}" dt="2023-05-02T14:27:56.994" v="127" actId="478"/>
          <ac:picMkLst>
            <pc:docMk/>
            <pc:sldMk cId="804883440" sldId="275"/>
            <ac:picMk id="13" creationId="{012965F9-016A-59DB-B73C-3EE5B255B3F5}"/>
          </ac:picMkLst>
        </pc:picChg>
        <pc:picChg chg="del">
          <ac:chgData name="Michael Nowak (MNOW)" userId="66b77b97-64ba-43b9-b188-bd23cab7d4bb" providerId="ADAL" clId="{07F72409-91A0-4F57-A7C3-9B3ECFC80C7E}" dt="2023-05-02T14:27:54.338" v="121" actId="478"/>
          <ac:picMkLst>
            <pc:docMk/>
            <pc:sldMk cId="804883440" sldId="275"/>
            <ac:picMk id="14" creationId="{42224D35-955F-58AF-6BA1-1E882DFDBC6E}"/>
          </ac:picMkLst>
        </pc:picChg>
        <pc:picChg chg="del">
          <ac:chgData name="Michael Nowak (MNOW)" userId="66b77b97-64ba-43b9-b188-bd23cab7d4bb" providerId="ADAL" clId="{07F72409-91A0-4F57-A7C3-9B3ECFC80C7E}" dt="2023-05-02T14:27:56.004" v="125" actId="478"/>
          <ac:picMkLst>
            <pc:docMk/>
            <pc:sldMk cId="804883440" sldId="275"/>
            <ac:picMk id="15" creationId="{3EFA958C-D405-6F7A-404E-BB87594EA0CB}"/>
          </ac:picMkLst>
        </pc:picChg>
        <pc:picChg chg="del">
          <ac:chgData name="Michael Nowak (MNOW)" userId="66b77b97-64ba-43b9-b188-bd23cab7d4bb" providerId="ADAL" clId="{07F72409-91A0-4F57-A7C3-9B3ECFC80C7E}" dt="2023-05-02T14:27:52.989" v="118" actId="478"/>
          <ac:picMkLst>
            <pc:docMk/>
            <pc:sldMk cId="804883440" sldId="275"/>
            <ac:picMk id="16" creationId="{9B2F6F75-3710-EDF9-B768-E328A8548547}"/>
          </ac:picMkLst>
        </pc:picChg>
        <pc:picChg chg="del">
          <ac:chgData name="Michael Nowak (MNOW)" userId="66b77b97-64ba-43b9-b188-bd23cab7d4bb" providerId="ADAL" clId="{07F72409-91A0-4F57-A7C3-9B3ECFC80C7E}" dt="2023-05-02T14:27:54.023" v="120" actId="478"/>
          <ac:picMkLst>
            <pc:docMk/>
            <pc:sldMk cId="804883440" sldId="275"/>
            <ac:picMk id="17" creationId="{4C1418F0-27B6-42EA-BF8C-707C1750F55C}"/>
          </ac:picMkLst>
        </pc:picChg>
        <pc:picChg chg="del">
          <ac:chgData name="Michael Nowak (MNOW)" userId="66b77b97-64ba-43b9-b188-bd23cab7d4bb" providerId="ADAL" clId="{07F72409-91A0-4F57-A7C3-9B3ECFC80C7E}" dt="2023-05-02T14:27:55.619" v="124" actId="478"/>
          <ac:picMkLst>
            <pc:docMk/>
            <pc:sldMk cId="804883440" sldId="275"/>
            <ac:picMk id="18" creationId="{74755337-CB13-5919-EC30-4B7A786B6FB7}"/>
          </ac:picMkLst>
        </pc:picChg>
        <pc:picChg chg="del">
          <ac:chgData name="Michael Nowak (MNOW)" userId="66b77b97-64ba-43b9-b188-bd23cab7d4bb" providerId="ADAL" clId="{07F72409-91A0-4F57-A7C3-9B3ECFC80C7E}" dt="2023-05-02T14:27:55.129" v="123" actId="478"/>
          <ac:picMkLst>
            <pc:docMk/>
            <pc:sldMk cId="804883440" sldId="275"/>
            <ac:picMk id="19" creationId="{8DC63C49-FBB0-B5F8-5B6A-F45FBCCD8D91}"/>
          </ac:picMkLst>
        </pc:picChg>
        <pc:picChg chg="del">
          <ac:chgData name="Michael Nowak (MNOW)" userId="66b77b97-64ba-43b9-b188-bd23cab7d4bb" providerId="ADAL" clId="{07F72409-91A0-4F57-A7C3-9B3ECFC80C7E}" dt="2023-05-02T14:27:54.706" v="122" actId="478"/>
          <ac:picMkLst>
            <pc:docMk/>
            <pc:sldMk cId="804883440" sldId="275"/>
            <ac:picMk id="20" creationId="{8580C0A2-EB5B-5D53-C1EE-5053803BDD68}"/>
          </ac:picMkLst>
        </pc:picChg>
        <pc:picChg chg="del">
          <ac:chgData name="Michael Nowak (MNOW)" userId="66b77b97-64ba-43b9-b188-bd23cab7d4bb" providerId="ADAL" clId="{07F72409-91A0-4F57-A7C3-9B3ECFC80C7E}" dt="2023-05-02T14:27:53.442" v="119" actId="478"/>
          <ac:picMkLst>
            <pc:docMk/>
            <pc:sldMk cId="804883440" sldId="275"/>
            <ac:picMk id="21" creationId="{2CA7CFE8-E3DB-7A02-5EE8-6C9E5CF7BCC9}"/>
          </ac:picMkLst>
        </pc:picChg>
        <pc:picChg chg="add mod">
          <ac:chgData name="Michael Nowak (MNOW)" userId="66b77b97-64ba-43b9-b188-bd23cab7d4bb" providerId="ADAL" clId="{07F72409-91A0-4F57-A7C3-9B3ECFC80C7E}" dt="2023-05-02T14:28:11.551" v="135" actId="1076"/>
          <ac:picMkLst>
            <pc:docMk/>
            <pc:sldMk cId="804883440" sldId="275"/>
            <ac:picMk id="107" creationId="{52DF5990-57D0-9E6B-EE80-02432FA1DE95}"/>
          </ac:picMkLst>
        </pc:picChg>
      </pc:sldChg>
      <pc:sldChg chg="addSp delSp modSp add mod">
        <pc:chgData name="Michael Nowak (MNOW)" userId="66b77b97-64ba-43b9-b188-bd23cab7d4bb" providerId="ADAL" clId="{07F72409-91A0-4F57-A7C3-9B3ECFC80C7E}" dt="2023-05-02T14:29:41.332" v="187" actId="1076"/>
        <pc:sldMkLst>
          <pc:docMk/>
          <pc:sldMk cId="64156490" sldId="276"/>
        </pc:sldMkLst>
        <pc:spChg chg="del mod">
          <ac:chgData name="Michael Nowak (MNOW)" userId="66b77b97-64ba-43b9-b188-bd23cab7d4bb" providerId="ADAL" clId="{07F72409-91A0-4F57-A7C3-9B3ECFC80C7E}" dt="2023-05-02T14:29:03.820" v="164" actId="478"/>
          <ac:spMkLst>
            <pc:docMk/>
            <pc:sldMk cId="64156490" sldId="276"/>
            <ac:spMk id="2" creationId="{0965E6AF-F175-D6DA-FDEC-DDBF247DA6B7}"/>
          </ac:spMkLst>
        </pc:spChg>
        <pc:spChg chg="add mod">
          <ac:chgData name="Michael Nowak (MNOW)" userId="66b77b97-64ba-43b9-b188-bd23cab7d4bb" providerId="ADAL" clId="{07F72409-91A0-4F57-A7C3-9B3ECFC80C7E}" dt="2023-05-02T14:29:17.669" v="183" actId="20577"/>
          <ac:spMkLst>
            <pc:docMk/>
            <pc:sldMk cId="64156490" sldId="276"/>
            <ac:spMk id="6" creationId="{3E3A4713-68CD-7004-A197-25C7D53940C4}"/>
          </ac:spMkLst>
        </pc:spChg>
        <pc:spChg chg="add mod">
          <ac:chgData name="Michael Nowak (MNOW)" userId="66b77b97-64ba-43b9-b188-bd23cab7d4bb" providerId="ADAL" clId="{07F72409-91A0-4F57-A7C3-9B3ECFC80C7E}" dt="2023-05-02T14:29:24.949" v="184"/>
          <ac:spMkLst>
            <pc:docMk/>
            <pc:sldMk cId="64156490" sldId="276"/>
            <ac:spMk id="7" creationId="{C6A6448D-ED02-F6F6-09CB-C127D318933C}"/>
          </ac:spMkLst>
        </pc:spChg>
        <pc:spChg chg="mod">
          <ac:chgData name="Michael Nowak (MNOW)" userId="66b77b97-64ba-43b9-b188-bd23cab7d4bb" providerId="ADAL" clId="{07F72409-91A0-4F57-A7C3-9B3ECFC80C7E}" dt="2023-05-02T14:29:38.032" v="186"/>
          <ac:spMkLst>
            <pc:docMk/>
            <pc:sldMk cId="64156490" sldId="276"/>
            <ac:spMk id="9" creationId="{3D9CA7E3-FAAA-CD12-1A6C-F46D1987397B}"/>
          </ac:spMkLst>
        </pc:spChg>
        <pc:spChg chg="mod">
          <ac:chgData name="Michael Nowak (MNOW)" userId="66b77b97-64ba-43b9-b188-bd23cab7d4bb" providerId="ADAL" clId="{07F72409-91A0-4F57-A7C3-9B3ECFC80C7E}" dt="2023-05-02T14:29:38.032" v="186"/>
          <ac:spMkLst>
            <pc:docMk/>
            <pc:sldMk cId="64156490" sldId="276"/>
            <ac:spMk id="13" creationId="{2B29E9CC-2180-6204-8AC7-DF1E2E8AB1F7}"/>
          </ac:spMkLst>
        </pc:spChg>
        <pc:spChg chg="add mod">
          <ac:chgData name="Michael Nowak (MNOW)" userId="66b77b97-64ba-43b9-b188-bd23cab7d4bb" providerId="ADAL" clId="{07F72409-91A0-4F57-A7C3-9B3ECFC80C7E}" dt="2023-05-02T14:29:41.332" v="187" actId="1076"/>
          <ac:spMkLst>
            <pc:docMk/>
            <pc:sldMk cId="64156490" sldId="276"/>
            <ac:spMk id="15" creationId="{81DBFA52-D1DF-0E96-9039-822AEA73CC35}"/>
          </ac:spMkLst>
        </pc:spChg>
        <pc:spChg chg="add mod">
          <ac:chgData name="Michael Nowak (MNOW)" userId="66b77b97-64ba-43b9-b188-bd23cab7d4bb" providerId="ADAL" clId="{07F72409-91A0-4F57-A7C3-9B3ECFC80C7E}" dt="2023-05-02T14:29:41.332" v="187" actId="1076"/>
          <ac:spMkLst>
            <pc:docMk/>
            <pc:sldMk cId="64156490" sldId="276"/>
            <ac:spMk id="17" creationId="{6441FEE5-5423-6395-8BCB-FF7D73CC3C3A}"/>
          </ac:spMkLst>
        </pc:spChg>
        <pc:spChg chg="add mod">
          <ac:chgData name="Michael Nowak (MNOW)" userId="66b77b97-64ba-43b9-b188-bd23cab7d4bb" providerId="ADAL" clId="{07F72409-91A0-4F57-A7C3-9B3ECFC80C7E}" dt="2023-05-02T14:29:41.332" v="187" actId="1076"/>
          <ac:spMkLst>
            <pc:docMk/>
            <pc:sldMk cId="64156490" sldId="276"/>
            <ac:spMk id="19" creationId="{358D0C30-7915-1CC7-0760-5EE9A2A7ECAA}"/>
          </ac:spMkLst>
        </pc:spChg>
        <pc:grpChg chg="del">
          <ac:chgData name="Michael Nowak (MNOW)" userId="66b77b97-64ba-43b9-b188-bd23cab7d4bb" providerId="ADAL" clId="{07F72409-91A0-4F57-A7C3-9B3ECFC80C7E}" dt="2023-05-02T14:29:04.225" v="165" actId="478"/>
          <ac:grpSpMkLst>
            <pc:docMk/>
            <pc:sldMk cId="64156490" sldId="276"/>
            <ac:grpSpMk id="3" creationId="{7A9588EB-29EE-1084-9D0E-F6FBEB78A6DF}"/>
          </ac:grpSpMkLst>
        </pc:grpChg>
        <pc:grpChg chg="add mod">
          <ac:chgData name="Michael Nowak (MNOW)" userId="66b77b97-64ba-43b9-b188-bd23cab7d4bb" providerId="ADAL" clId="{07F72409-91A0-4F57-A7C3-9B3ECFC80C7E}" dt="2023-05-02T14:29:41.332" v="187" actId="1076"/>
          <ac:grpSpMkLst>
            <pc:docMk/>
            <pc:sldMk cId="64156490" sldId="276"/>
            <ac:grpSpMk id="8" creationId="{D6CFA319-65C5-4B1A-1AD4-7000E69403B8}"/>
          </ac:grpSpMkLst>
        </pc:grpChg>
        <pc:grpChg chg="add mod">
          <ac:chgData name="Michael Nowak (MNOW)" userId="66b77b97-64ba-43b9-b188-bd23cab7d4bb" providerId="ADAL" clId="{07F72409-91A0-4F57-A7C3-9B3ECFC80C7E}" dt="2023-05-02T14:29:41.332" v="187" actId="1076"/>
          <ac:grpSpMkLst>
            <pc:docMk/>
            <pc:sldMk cId="64156490" sldId="276"/>
            <ac:grpSpMk id="11" creationId="{4212D7EE-205B-9333-02CB-A401608BD338}"/>
          </ac:grpSpMkLst>
        </pc:grpChg>
        <pc:picChg chg="mod">
          <ac:chgData name="Michael Nowak (MNOW)" userId="66b77b97-64ba-43b9-b188-bd23cab7d4bb" providerId="ADAL" clId="{07F72409-91A0-4F57-A7C3-9B3ECFC80C7E}" dt="2023-05-02T14:29:38.032" v="186"/>
          <ac:picMkLst>
            <pc:docMk/>
            <pc:sldMk cId="64156490" sldId="276"/>
            <ac:picMk id="10" creationId="{D3DE01BD-1B61-2C4D-12B0-6BA6DA4E8105}"/>
          </ac:picMkLst>
        </pc:picChg>
        <pc:picChg chg="mod">
          <ac:chgData name="Michael Nowak (MNOW)" userId="66b77b97-64ba-43b9-b188-bd23cab7d4bb" providerId="ADAL" clId="{07F72409-91A0-4F57-A7C3-9B3ECFC80C7E}" dt="2023-05-02T14:29:38.032" v="186"/>
          <ac:picMkLst>
            <pc:docMk/>
            <pc:sldMk cId="64156490" sldId="276"/>
            <ac:picMk id="12" creationId="{49A5CD46-6785-FD5A-C66F-73D7634DF3CA}"/>
          </ac:picMkLst>
        </pc:picChg>
        <pc:picChg chg="add mod">
          <ac:chgData name="Michael Nowak (MNOW)" userId="66b77b97-64ba-43b9-b188-bd23cab7d4bb" providerId="ADAL" clId="{07F72409-91A0-4F57-A7C3-9B3ECFC80C7E}" dt="2023-05-02T14:29:41.332" v="187" actId="1076"/>
          <ac:picMkLst>
            <pc:docMk/>
            <pc:sldMk cId="64156490" sldId="276"/>
            <ac:picMk id="14" creationId="{9BB89419-EC43-C09F-F411-EB6E7AAD398E}"/>
          </ac:picMkLst>
        </pc:picChg>
        <pc:picChg chg="add mod">
          <ac:chgData name="Michael Nowak (MNOW)" userId="66b77b97-64ba-43b9-b188-bd23cab7d4bb" providerId="ADAL" clId="{07F72409-91A0-4F57-A7C3-9B3ECFC80C7E}" dt="2023-05-02T14:29:41.332" v="187" actId="1076"/>
          <ac:picMkLst>
            <pc:docMk/>
            <pc:sldMk cId="64156490" sldId="276"/>
            <ac:picMk id="16" creationId="{275D78A9-3E73-F286-4457-FF2958A57616}"/>
          </ac:picMkLst>
        </pc:picChg>
        <pc:picChg chg="add mod">
          <ac:chgData name="Michael Nowak (MNOW)" userId="66b77b97-64ba-43b9-b188-bd23cab7d4bb" providerId="ADAL" clId="{07F72409-91A0-4F57-A7C3-9B3ECFC80C7E}" dt="2023-05-02T14:29:41.332" v="187" actId="1076"/>
          <ac:picMkLst>
            <pc:docMk/>
            <pc:sldMk cId="64156490" sldId="276"/>
            <ac:picMk id="18" creationId="{C1C38565-B144-559F-2B61-F3448DD25363}"/>
          </ac:picMkLst>
        </pc:picChg>
        <pc:picChg chg="del">
          <ac:chgData name="Michael Nowak (MNOW)" userId="66b77b97-64ba-43b9-b188-bd23cab7d4bb" providerId="ADAL" clId="{07F72409-91A0-4F57-A7C3-9B3ECFC80C7E}" dt="2023-05-02T14:29:04.836" v="166" actId="478"/>
          <ac:picMkLst>
            <pc:docMk/>
            <pc:sldMk cId="64156490" sldId="276"/>
            <ac:picMk id="107" creationId="{52DF5990-57D0-9E6B-EE80-02432FA1DE95}"/>
          </ac:picMkLst>
        </pc:picChg>
      </pc:sldChg>
      <pc:sldChg chg="modSp add mod">
        <pc:chgData name="Michael Nowak (MNOW)" userId="66b77b97-64ba-43b9-b188-bd23cab7d4bb" providerId="ADAL" clId="{07F72409-91A0-4F57-A7C3-9B3ECFC80C7E}" dt="2023-05-02T14:30:38.014" v="196" actId="20577"/>
        <pc:sldMkLst>
          <pc:docMk/>
          <pc:sldMk cId="4106443644" sldId="277"/>
        </pc:sldMkLst>
        <pc:spChg chg="mod">
          <ac:chgData name="Michael Nowak (MNOW)" userId="66b77b97-64ba-43b9-b188-bd23cab7d4bb" providerId="ADAL" clId="{07F72409-91A0-4F57-A7C3-9B3ECFC80C7E}" dt="2023-05-02T14:30:38.014" v="196" actId="20577"/>
          <ac:spMkLst>
            <pc:docMk/>
            <pc:sldMk cId="4106443644" sldId="277"/>
            <ac:spMk id="4" creationId="{CAB3D974-0B21-61F9-125A-04464A5FA19B}"/>
          </ac:spMkLst>
        </pc:spChg>
      </pc:sldChg>
      <pc:sldChg chg="modSp add mod">
        <pc:chgData name="Michael Nowak (MNOW)" userId="66b77b97-64ba-43b9-b188-bd23cab7d4bb" providerId="ADAL" clId="{07F72409-91A0-4F57-A7C3-9B3ECFC80C7E}" dt="2023-05-02T14:32:57.940" v="199" actId="11"/>
        <pc:sldMkLst>
          <pc:docMk/>
          <pc:sldMk cId="709253244" sldId="278"/>
        </pc:sldMkLst>
        <pc:spChg chg="mod">
          <ac:chgData name="Michael Nowak (MNOW)" userId="66b77b97-64ba-43b9-b188-bd23cab7d4bb" providerId="ADAL" clId="{07F72409-91A0-4F57-A7C3-9B3ECFC80C7E}" dt="2023-05-02T14:32:57.940" v="199" actId="11"/>
          <ac:spMkLst>
            <pc:docMk/>
            <pc:sldMk cId="709253244" sldId="278"/>
            <ac:spMk id="4" creationId="{CAB3D974-0B21-61F9-125A-04464A5FA19B}"/>
          </ac:spMkLst>
        </pc:spChg>
      </pc:sldChg>
      <pc:sldMasterChg chg="setBg modSldLayout">
        <pc:chgData name="Michael Nowak (MNOW)" userId="66b77b97-64ba-43b9-b188-bd23cab7d4bb" providerId="ADAL" clId="{07F72409-91A0-4F57-A7C3-9B3ECFC80C7E}" dt="2023-05-02T14:12:18.459" v="17"/>
        <pc:sldMasterMkLst>
          <pc:docMk/>
          <pc:sldMasterMk cId="3594901890" sldId="2147483759"/>
        </pc:sldMasterMkLst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662605273" sldId="2147483760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300428305" sldId="2147483761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463896955" sldId="2147483762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120702401" sldId="2147483763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278464663" sldId="2147483764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208767676" sldId="2147483765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474253509" sldId="2147483766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160693235" sldId="2147483767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993753727" sldId="2147483768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252432211" sldId="2147483769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906375294" sldId="2147483770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4111509262" sldId="2147483771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773563421" sldId="2147483772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4244878906" sldId="2147483773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1609669042" sldId="2147483774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357756911" sldId="2147483775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901519300" sldId="2147483776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938521345" sldId="2147483777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1873077453" sldId="2147483778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442781968" sldId="2147483779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992914159" sldId="2147483780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089879744" sldId="2147483781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245551359" sldId="2147483782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922338097" sldId="2147483783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1457531739" sldId="2147483784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863983660" sldId="2147483785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2661956442" sldId="2147483786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3056920650" sldId="2147483787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4193268836" sldId="2147483788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1471855688" sldId="2147483789"/>
          </pc:sldLayoutMkLst>
        </pc:sldLayoutChg>
        <pc:sldLayoutChg chg="setBg">
          <pc:chgData name="Michael Nowak (MNOW)" userId="66b77b97-64ba-43b9-b188-bd23cab7d4bb" providerId="ADAL" clId="{07F72409-91A0-4F57-A7C3-9B3ECFC80C7E}" dt="2023-05-02T14:12:18.459" v="17"/>
          <pc:sldLayoutMkLst>
            <pc:docMk/>
            <pc:sldMasterMk cId="3594901890" sldId="2147483759"/>
            <pc:sldLayoutMk cId="661284619" sldId="2147483791"/>
          </pc:sldLayoutMkLst>
        </pc:sldLayoutChg>
      </pc:sldMasterChg>
    </pc:docChg>
  </pc:docChgLst>
  <pc:docChgLst>
    <pc:chgData name="Michael Nowak (MNOW)" userId="66b77b97-64ba-43b9-b188-bd23cab7d4bb" providerId="ADAL" clId="{3D2E82D4-513B-454D-B75A-BE7014FAA21B}"/>
    <pc:docChg chg="custSel addSld modSld">
      <pc:chgData name="Michael Nowak (MNOW)" userId="66b77b97-64ba-43b9-b188-bd23cab7d4bb" providerId="ADAL" clId="{3D2E82D4-513B-454D-B75A-BE7014FAA21B}" dt="2023-05-19T07:58:45.261" v="102" actId="1076"/>
      <pc:docMkLst>
        <pc:docMk/>
      </pc:docMkLst>
      <pc:sldChg chg="addSp delSp modSp mod">
        <pc:chgData name="Michael Nowak (MNOW)" userId="66b77b97-64ba-43b9-b188-bd23cab7d4bb" providerId="ADAL" clId="{3D2E82D4-513B-454D-B75A-BE7014FAA21B}" dt="2023-05-19T07:58:45.261" v="102" actId="1076"/>
        <pc:sldMkLst>
          <pc:docMk/>
          <pc:sldMk cId="269250381" sldId="259"/>
        </pc:sldMkLst>
        <pc:spChg chg="add mod">
          <ac:chgData name="Michael Nowak (MNOW)" userId="66b77b97-64ba-43b9-b188-bd23cab7d4bb" providerId="ADAL" clId="{3D2E82D4-513B-454D-B75A-BE7014FAA21B}" dt="2023-05-19T07:58:45.261" v="102" actId="1076"/>
          <ac:spMkLst>
            <pc:docMk/>
            <pc:sldMk cId="269250381" sldId="259"/>
            <ac:spMk id="2" creationId="{AEACF89F-EA10-CBEC-5900-846D74C96D36}"/>
          </ac:spMkLst>
        </pc:spChg>
        <pc:spChg chg="del">
          <ac:chgData name="Michael Nowak (MNOW)" userId="66b77b97-64ba-43b9-b188-bd23cab7d4bb" providerId="ADAL" clId="{3D2E82D4-513B-454D-B75A-BE7014FAA21B}" dt="2023-05-19T07:58:13.390" v="74" actId="478"/>
          <ac:spMkLst>
            <pc:docMk/>
            <pc:sldMk cId="269250381" sldId="259"/>
            <ac:spMk id="6" creationId="{F5DB89ED-4E82-42AC-B7E2-0EDBF5CA0F1F}"/>
          </ac:spMkLst>
        </pc:spChg>
      </pc:sldChg>
      <pc:sldChg chg="addSp modSp mod">
        <pc:chgData name="Michael Nowak (MNOW)" userId="66b77b97-64ba-43b9-b188-bd23cab7d4bb" providerId="ADAL" clId="{3D2E82D4-513B-454D-B75A-BE7014FAA21B}" dt="2023-05-15T11:32:05.683" v="40" actId="1076"/>
        <pc:sldMkLst>
          <pc:docMk/>
          <pc:sldMk cId="3978165947" sldId="271"/>
        </pc:sldMkLst>
        <pc:spChg chg="mod">
          <ac:chgData name="Michael Nowak (MNOW)" userId="66b77b97-64ba-43b9-b188-bd23cab7d4bb" providerId="ADAL" clId="{3D2E82D4-513B-454D-B75A-BE7014FAA21B}" dt="2023-05-15T11:31:26.808" v="2" actId="14100"/>
          <ac:spMkLst>
            <pc:docMk/>
            <pc:sldMk cId="3978165947" sldId="271"/>
            <ac:spMk id="4" creationId="{CAB3D974-0B21-61F9-125A-04464A5FA19B}"/>
          </ac:spMkLst>
        </pc:spChg>
        <pc:spChg chg="add mod">
          <ac:chgData name="Michael Nowak (MNOW)" userId="66b77b97-64ba-43b9-b188-bd23cab7d4bb" providerId="ADAL" clId="{3D2E82D4-513B-454D-B75A-BE7014FAA21B}" dt="2023-05-15T11:32:05.683" v="40" actId="1076"/>
          <ac:spMkLst>
            <pc:docMk/>
            <pc:sldMk cId="3978165947" sldId="271"/>
            <ac:spMk id="5" creationId="{196BEAD1-8C2F-C895-78CB-838727FD87A5}"/>
          </ac:spMkLst>
        </pc:spChg>
      </pc:sldChg>
      <pc:sldChg chg="modSp">
        <pc:chgData name="Michael Nowak (MNOW)" userId="66b77b97-64ba-43b9-b188-bd23cab7d4bb" providerId="ADAL" clId="{3D2E82D4-513B-454D-B75A-BE7014FAA21B}" dt="2023-05-15T11:30:01.953" v="0" actId="14826"/>
        <pc:sldMkLst>
          <pc:docMk/>
          <pc:sldMk cId="64156490" sldId="276"/>
        </pc:sldMkLst>
        <pc:picChg chg="mod">
          <ac:chgData name="Michael Nowak (MNOW)" userId="66b77b97-64ba-43b9-b188-bd23cab7d4bb" providerId="ADAL" clId="{3D2E82D4-513B-454D-B75A-BE7014FAA21B}" dt="2023-05-15T11:30:01.953" v="0" actId="14826"/>
          <ac:picMkLst>
            <pc:docMk/>
            <pc:sldMk cId="64156490" sldId="276"/>
            <ac:picMk id="16" creationId="{275D78A9-3E73-F286-4457-FF2958A57616}"/>
          </ac:picMkLst>
        </pc:picChg>
      </pc:sldChg>
      <pc:sldChg chg="modSp add mod">
        <pc:chgData name="Michael Nowak (MNOW)" userId="66b77b97-64ba-43b9-b188-bd23cab7d4bb" providerId="ADAL" clId="{3D2E82D4-513B-454D-B75A-BE7014FAA21B}" dt="2023-05-15T11:33:00.874" v="72" actId="20577"/>
        <pc:sldMkLst>
          <pc:docMk/>
          <pc:sldMk cId="3383363535" sldId="296"/>
        </pc:sldMkLst>
        <pc:spChg chg="mod">
          <ac:chgData name="Michael Nowak (MNOW)" userId="66b77b97-64ba-43b9-b188-bd23cab7d4bb" providerId="ADAL" clId="{3D2E82D4-513B-454D-B75A-BE7014FAA21B}" dt="2023-05-15T11:33:00.874" v="72" actId="20577"/>
          <ac:spMkLst>
            <pc:docMk/>
            <pc:sldMk cId="3383363535" sldId="296"/>
            <ac:spMk id="4" creationId="{7BA33B69-82F4-4C0D-9F82-4B9FF8E326D5}"/>
          </ac:spMkLst>
        </pc:spChg>
      </pc:sldChg>
    </pc:docChg>
  </pc:docChgLst>
  <pc:docChgLst>
    <pc:chgData name="Michael Nowak (MNOW)" userId="66b77b97-64ba-43b9-b188-bd23cab7d4bb" providerId="ADAL" clId="{D47DF70A-5867-4531-90D7-B17170735062}"/>
    <pc:docChg chg="modSld">
      <pc:chgData name="Michael Nowak (MNOW)" userId="66b77b97-64ba-43b9-b188-bd23cab7d4bb" providerId="ADAL" clId="{D47DF70A-5867-4531-90D7-B17170735062}" dt="2023-03-16T07:54:06.093" v="2" actId="165"/>
      <pc:docMkLst>
        <pc:docMk/>
      </pc:docMkLst>
      <pc:sldChg chg="delSp modSp">
        <pc:chgData name="Michael Nowak (MNOW)" userId="66b77b97-64ba-43b9-b188-bd23cab7d4bb" providerId="ADAL" clId="{D47DF70A-5867-4531-90D7-B17170735062}" dt="2023-03-16T07:54:06.093" v="2" actId="165"/>
        <pc:sldMkLst>
          <pc:docMk/>
          <pc:sldMk cId="2904455388" sldId="262"/>
        </pc:sldMkLst>
        <pc:spChg chg="mod topLvl">
          <ac:chgData name="Michael Nowak (MNOW)" userId="66b77b97-64ba-43b9-b188-bd23cab7d4bb" providerId="ADAL" clId="{D47DF70A-5867-4531-90D7-B17170735062}" dt="2023-03-16T07:53:59.451" v="1" actId="165"/>
          <ac:spMkLst>
            <pc:docMk/>
            <pc:sldMk cId="2904455388" sldId="262"/>
            <ac:spMk id="17" creationId="{E3D66FCB-AB1A-471E-B339-372663929D28}"/>
          </ac:spMkLst>
        </pc:spChg>
        <pc:spChg chg="mod topLvl">
          <ac:chgData name="Michael Nowak (MNOW)" userId="66b77b97-64ba-43b9-b188-bd23cab7d4bb" providerId="ADAL" clId="{D47DF70A-5867-4531-90D7-B17170735062}" dt="2023-03-16T07:54:06.093" v="2" actId="165"/>
          <ac:spMkLst>
            <pc:docMk/>
            <pc:sldMk cId="2904455388" sldId="262"/>
            <ac:spMk id="18" creationId="{81E2BFC5-9ED0-4ADC-AEB3-6AAE11227552}"/>
          </ac:spMkLst>
        </pc:spChg>
        <pc:spChg chg="mod topLvl">
          <ac:chgData name="Michael Nowak (MNOW)" userId="66b77b97-64ba-43b9-b188-bd23cab7d4bb" providerId="ADAL" clId="{D47DF70A-5867-4531-90D7-B17170735062}" dt="2023-03-16T07:53:52.392" v="0" actId="165"/>
          <ac:spMkLst>
            <pc:docMk/>
            <pc:sldMk cId="2904455388" sldId="262"/>
            <ac:spMk id="19" creationId="{6D133866-5DF7-4B70-9F2B-C9BD8D1E36CB}"/>
          </ac:spMkLst>
        </pc:spChg>
        <pc:grpChg chg="del">
          <ac:chgData name="Michael Nowak (MNOW)" userId="66b77b97-64ba-43b9-b188-bd23cab7d4bb" providerId="ADAL" clId="{D47DF70A-5867-4531-90D7-B17170735062}" dt="2023-03-16T07:53:52.392" v="0" actId="165"/>
          <ac:grpSpMkLst>
            <pc:docMk/>
            <pc:sldMk cId="2904455388" sldId="262"/>
            <ac:grpSpMk id="20" creationId="{BA3110CC-75FF-404C-8078-4C4C6F79EE1C}"/>
          </ac:grpSpMkLst>
        </pc:grpChg>
        <pc:grpChg chg="del">
          <ac:chgData name="Michael Nowak (MNOW)" userId="66b77b97-64ba-43b9-b188-bd23cab7d4bb" providerId="ADAL" clId="{D47DF70A-5867-4531-90D7-B17170735062}" dt="2023-03-16T07:53:59.451" v="1" actId="165"/>
          <ac:grpSpMkLst>
            <pc:docMk/>
            <pc:sldMk cId="2904455388" sldId="262"/>
            <ac:grpSpMk id="22" creationId="{145B0957-5223-449C-8A35-B4824096CFD0}"/>
          </ac:grpSpMkLst>
        </pc:grpChg>
        <pc:grpChg chg="del">
          <ac:chgData name="Michael Nowak (MNOW)" userId="66b77b97-64ba-43b9-b188-bd23cab7d4bb" providerId="ADAL" clId="{D47DF70A-5867-4531-90D7-B17170735062}" dt="2023-03-16T07:54:06.093" v="2" actId="165"/>
          <ac:grpSpMkLst>
            <pc:docMk/>
            <pc:sldMk cId="2904455388" sldId="262"/>
            <ac:grpSpMk id="24" creationId="{3F965171-FB26-4670-8574-1DEAA2371168}"/>
          </ac:grpSpMkLst>
        </pc:grpChg>
        <pc:picChg chg="mod topLvl">
          <ac:chgData name="Michael Nowak (MNOW)" userId="66b77b97-64ba-43b9-b188-bd23cab7d4bb" providerId="ADAL" clId="{D47DF70A-5867-4531-90D7-B17170735062}" dt="2023-03-16T07:53:52.392" v="0" actId="165"/>
          <ac:picMkLst>
            <pc:docMk/>
            <pc:sldMk cId="2904455388" sldId="262"/>
            <ac:picMk id="7" creationId="{EA67ABF8-85DA-4769-B853-8D5BD2AAB16D}"/>
          </ac:picMkLst>
        </pc:picChg>
        <pc:picChg chg="mod topLvl">
          <ac:chgData name="Michael Nowak (MNOW)" userId="66b77b97-64ba-43b9-b188-bd23cab7d4bb" providerId="ADAL" clId="{D47DF70A-5867-4531-90D7-B17170735062}" dt="2023-03-16T07:53:59.451" v="1" actId="165"/>
          <ac:picMkLst>
            <pc:docMk/>
            <pc:sldMk cId="2904455388" sldId="262"/>
            <ac:picMk id="12" creationId="{2BF42232-F278-4CA5-87BC-ACD49022A730}"/>
          </ac:picMkLst>
        </pc:picChg>
        <pc:picChg chg="mod topLvl">
          <ac:chgData name="Michael Nowak (MNOW)" userId="66b77b97-64ba-43b9-b188-bd23cab7d4bb" providerId="ADAL" clId="{D47DF70A-5867-4531-90D7-B17170735062}" dt="2023-03-16T07:54:06.093" v="2" actId="165"/>
          <ac:picMkLst>
            <pc:docMk/>
            <pc:sldMk cId="2904455388" sldId="262"/>
            <ac:picMk id="14" creationId="{93DE5F05-2431-42F4-8F17-9C11BE8FE1D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87D9DE-888D-6C8F-F551-0B7B16B112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817607-A2A2-2CFD-AD0D-1934AE09EE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64627-AA10-49CA-BD8A-CB637C862B63}" type="datetimeFigureOut">
              <a:rPr lang="en-GB" smtClean="0"/>
              <a:t>16/05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E42D1-B0C0-1F98-6C8F-62A6141E9B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FF06E-77F8-0FA6-4A46-C15EEF9F3B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36C35-B78C-486E-8451-CE4CB38ECCD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2103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4B70E-9DB2-4E44-B890-E951B8D62E32}" type="datetimeFigureOut">
              <a:rPr lang="en-GB" smtClean="0"/>
              <a:t>16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A9E466-15EE-43EA-8496-988906D1524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3804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605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3">
          <p15:clr>
            <a:srgbClr val="A4A3A4"/>
          </p15:clr>
        </p15:guide>
        <p15:guide id="2" pos="472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432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6375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orient="horz" pos="2018">
          <p15:clr>
            <a:srgbClr val="A4A3A4"/>
          </p15:clr>
        </p15:guide>
        <p15:guide id="3" orient="horz" pos="2925">
          <p15:clr>
            <a:srgbClr val="A4A3A4"/>
          </p15:clr>
        </p15:guide>
        <p15:guide id="4" pos="439">
          <p15:clr>
            <a:srgbClr val="A4A3A4"/>
          </p15:clr>
        </p15:guide>
        <p15:guide id="5" pos="1952">
          <p15:clr>
            <a:srgbClr val="A4A3A4"/>
          </p15:clr>
        </p15:guide>
        <p15:guide id="6" pos="2181">
          <p15:clr>
            <a:srgbClr val="A4A3A4"/>
          </p15:clr>
        </p15:guide>
        <p15:guide id="7" pos="3694">
          <p15:clr>
            <a:srgbClr val="A4A3A4"/>
          </p15:clr>
        </p15:guide>
        <p15:guide id="8" pos="3923">
          <p15:clr>
            <a:srgbClr val="A4A3A4"/>
          </p15:clr>
        </p15:guide>
        <p15:guide id="9" pos="5435">
          <p15:clr>
            <a:srgbClr val="A4A3A4"/>
          </p15:clr>
        </p15:guide>
        <p15:guide id="10" pos="5664">
          <p15:clr>
            <a:srgbClr val="A4A3A4"/>
          </p15:clr>
        </p15:guide>
        <p15:guide id="11" pos="717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1509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25">
          <p15:clr>
            <a:srgbClr val="A4A3A4"/>
          </p15:clr>
        </p15:guide>
        <p15:guide id="2" pos="3716">
          <p15:clr>
            <a:srgbClr val="A4A3A4"/>
          </p15:clr>
        </p15:guide>
        <p15:guide id="3" pos="3963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56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4878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669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569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51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25">
          <p15:clr>
            <a:srgbClr val="A4A3A4"/>
          </p15:clr>
        </p15:guide>
        <p15:guide id="2" pos="1950">
          <p15:clr>
            <a:srgbClr val="A4A3A4"/>
          </p15:clr>
        </p15:guide>
        <p15:guide id="3" pos="3775">
          <p15:clr>
            <a:srgbClr val="A4A3A4"/>
          </p15:clr>
        </p15:guide>
        <p15:guide id="4" pos="3902">
          <p15:clr>
            <a:srgbClr val="A4A3A4"/>
          </p15:clr>
        </p15:guide>
        <p15:guide id="5" pos="5728">
          <p15:clr>
            <a:srgbClr val="A4A3A4"/>
          </p15:clr>
        </p15:guide>
        <p15:guide id="6" pos="5852">
          <p15:clr>
            <a:srgbClr val="A4A3A4"/>
          </p15:clr>
        </p15:guide>
        <p15:guide id="7" orient="horz" pos="1335">
          <p15:clr>
            <a:srgbClr val="A4A3A4"/>
          </p15:clr>
        </p15:guide>
        <p15:guide id="8" orient="horz" pos="1210">
          <p15:clr>
            <a:srgbClr val="A4A3A4"/>
          </p15:clr>
        </p15:guide>
        <p15:guide id="9" orient="horz" pos="2546">
          <p15:clr>
            <a:srgbClr val="A4A3A4"/>
          </p15:clr>
        </p15:guide>
        <p15:guide id="10" orient="horz" pos="267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521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6">
          <p15:clr>
            <a:srgbClr val="A4A3A4"/>
          </p15:clr>
        </p15:guide>
        <p15:guide id="2" pos="293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077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00428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3">
          <p15:clr>
            <a:srgbClr val="A4A3A4"/>
          </p15:clr>
        </p15:guide>
        <p15:guide id="2" pos="3716">
          <p15:clr>
            <a:srgbClr val="A4A3A4"/>
          </p15:clr>
        </p15:guide>
        <p15:guide id="3" orient="horz" pos="82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2781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530">
          <p15:clr>
            <a:srgbClr val="A4A3A4"/>
          </p15:clr>
        </p15:guide>
        <p15:guide id="3" pos="3385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914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879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5513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03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338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1">
          <p15:clr>
            <a:srgbClr val="A4A3A4"/>
          </p15:clr>
        </p15:guide>
        <p15:guide id="2" pos="3716">
          <p15:clr>
            <a:srgbClr val="A4A3A4"/>
          </p15:clr>
        </p15:guide>
        <p15:guide id="3" pos="4013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317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983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9564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69206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4193268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31">
          <p15:clr>
            <a:srgbClr val="A4A3A4"/>
          </p15:clr>
        </p15:guide>
        <p15:guide id="2" pos="5952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896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2">
          <p15:clr>
            <a:srgbClr val="A4A3A4"/>
          </p15:clr>
        </p15:guide>
        <p15:guide id="2" pos="2757">
          <p15:clr>
            <a:srgbClr val="A4A3A4"/>
          </p15:clr>
        </p15:guide>
        <p15:guide id="3" pos="4973">
          <p15:clr>
            <a:srgbClr val="A4A3A4"/>
          </p15:clr>
        </p15:guide>
        <p15:guide id="4" pos="5238">
          <p15:clr>
            <a:srgbClr val="A4A3A4"/>
          </p15:clr>
        </p15:guide>
        <p15:guide id="5" orient="horz" pos="952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4718556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FD95B-3642-486B-9C19-6BF057D1FD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3EEEEB-835D-4231-8781-3D7857A383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4CA82-43C4-443A-897A-2619A1A50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EF510C-AD04-4FF5-BC04-F293AD97B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730E08-2C0D-4BE1-93FD-9E2715925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2846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702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  <p15:guide id="2" pos="4013">
          <p15:clr>
            <a:srgbClr val="A4A3A4"/>
          </p15:clr>
        </p15:guide>
        <p15:guide id="3" pos="371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8464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6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253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0693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A4A3A4"/>
          </p15:clr>
        </p15:guide>
        <p15:guide id="2" pos="3653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753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3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DC1C9C1-9C92-4E06-946B-68FB2B3160E2}" type="slidenum">
              <a:rPr lang="de-DE" smtClean="0"/>
              <a:t>‹#›</a:t>
            </a:fld>
            <a:endParaRPr lang="de-DE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901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1" r:id="rId3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A4A3A4"/>
          </p15:clr>
        </p15:guide>
        <p15:guide id="2" pos="7453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880">
          <p15:clr>
            <a:srgbClr val="A4A3A4"/>
          </p15:clr>
        </p15:guide>
        <p15:guide id="5" pos="2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387600"/>
          </a:xfrm>
        </p:spPr>
        <p:txBody>
          <a:bodyPr/>
          <a:lstStyle/>
          <a:p>
            <a:r>
              <a:rPr lang="en-US" sz="4200" b="1" dirty="0">
                <a:latin typeface="Fira Sans" panose="020B0503050000020004" pitchFamily="34" charset="0"/>
              </a:rPr>
              <a:t>Skills Initiative for Africa</a:t>
            </a:r>
            <a:br>
              <a:rPr lang="en-US" sz="4000" b="1" dirty="0">
                <a:latin typeface="Fira Sans" panose="020B0503050000020004" pitchFamily="34" charset="0"/>
              </a:rPr>
            </a:br>
            <a:r>
              <a:rPr lang="en-US" sz="3400" b="1" dirty="0">
                <a:latin typeface="Fira Sans" panose="020B0503050000020004" pitchFamily="34" charset="0"/>
              </a:rPr>
              <a:t>Financial Cooperation</a:t>
            </a:r>
            <a:endParaRPr lang="de-DE" sz="3400" b="1" dirty="0">
              <a:latin typeface="Fira Sans" panose="020B05030500000200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2DDE7FD-8C1C-44EA-95CB-A92CB3CBBB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08325"/>
            <a:ext cx="9144000" cy="589636"/>
          </a:xfrm>
        </p:spPr>
        <p:txBody>
          <a:bodyPr>
            <a:noAutofit/>
          </a:bodyPr>
          <a:lstStyle/>
          <a:p>
            <a:pPr marR="0" rtl="0"/>
            <a:r>
              <a:rPr lang="en-US" sz="18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cations and Marketing in Funding Window III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ACF89F-EA10-CBEC-5900-846D74C96D36}"/>
              </a:ext>
            </a:extLst>
          </p:cNvPr>
          <p:cNvSpPr txBox="1"/>
          <p:nvPr/>
        </p:nvSpPr>
        <p:spPr>
          <a:xfrm>
            <a:off x="4439652" y="3926394"/>
            <a:ext cx="3312695" cy="379591"/>
          </a:xfrm>
          <a:prstGeom prst="rect">
            <a:avLst/>
          </a:prstGeom>
          <a:solidFill>
            <a:srgbClr val="A1204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 17, 2024</a:t>
            </a:r>
          </a:p>
        </p:txBody>
      </p:sp>
    </p:spTree>
    <p:extLst>
      <p:ext uri="{BB962C8B-B14F-4D97-AF65-F5344CB8AC3E}">
        <p14:creationId xmlns:p14="http://schemas.microsoft.com/office/powerpoint/2010/main" val="2692503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225" y="167769"/>
            <a:ext cx="4612292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1731D01-D9CF-BC80-C4E0-6B2720DC7C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712"/>
          <a:stretch/>
        </p:blipFill>
        <p:spPr>
          <a:xfrm>
            <a:off x="4971938" y="3488817"/>
            <a:ext cx="7027791" cy="1718183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95B888-74B4-CA75-DAF2-5105784145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712"/>
          <a:stretch/>
        </p:blipFill>
        <p:spPr>
          <a:xfrm>
            <a:off x="4971938" y="1234569"/>
            <a:ext cx="7027789" cy="1718181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7647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225" y="167809"/>
            <a:ext cx="4612292" cy="652238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1731D01-D9CF-BC80-C4E0-6B2720DC7C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" t="82643" r="150" b="69"/>
          <a:stretch/>
        </p:blipFill>
        <p:spPr>
          <a:xfrm>
            <a:off x="5014984" y="3537857"/>
            <a:ext cx="7027791" cy="1718183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95B888-74B4-CA75-DAF2-5105784145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7" b="78688"/>
          <a:stretch/>
        </p:blipFill>
        <p:spPr>
          <a:xfrm>
            <a:off x="5014984" y="1000526"/>
            <a:ext cx="7027789" cy="2127756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15943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276" y="167769"/>
            <a:ext cx="4612189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1731D01-D9CF-BC80-C4E0-6B2720DC7C7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553" b="159"/>
          <a:stretch/>
        </p:blipFill>
        <p:spPr>
          <a:xfrm>
            <a:off x="4971938" y="3488817"/>
            <a:ext cx="7027791" cy="1718183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D95B888-74B4-CA75-DAF2-5105784145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2713"/>
          <a:stretch/>
        </p:blipFill>
        <p:spPr>
          <a:xfrm>
            <a:off x="4971938" y="1234568"/>
            <a:ext cx="7027789" cy="1718183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39034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A895BE9E-6818-64F6-6B6E-8D3243E9997C}"/>
              </a:ext>
            </a:extLst>
          </p:cNvPr>
          <p:cNvGrpSpPr/>
          <p:nvPr/>
        </p:nvGrpSpPr>
        <p:grpSpPr>
          <a:xfrm>
            <a:off x="10887638" y="226954"/>
            <a:ext cx="1148787" cy="538221"/>
            <a:chOff x="10887638" y="226954"/>
            <a:chExt cx="1148787" cy="53822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5EEF686-6097-DA26-4B66-956413D3E377}"/>
                </a:ext>
              </a:extLst>
            </p:cNvPr>
            <p:cNvSpPr/>
            <p:nvPr/>
          </p:nvSpPr>
          <p:spPr>
            <a:xfrm>
              <a:off x="10887638" y="226954"/>
              <a:ext cx="1148787" cy="538221"/>
            </a:xfrm>
            <a:prstGeom prst="rect">
              <a:avLst/>
            </a:prstGeom>
            <a:noFill/>
            <a:ln>
              <a:solidFill>
                <a:srgbClr val="AA213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AC39F52-4A9A-4C0E-3B37-92D12E27F964}"/>
                </a:ext>
              </a:extLst>
            </p:cNvPr>
            <p:cNvSpPr txBox="1"/>
            <p:nvPr/>
          </p:nvSpPr>
          <p:spPr>
            <a:xfrm>
              <a:off x="10927713" y="265231"/>
              <a:ext cx="10686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Grantee 1 Logo Here</a:t>
              </a:r>
              <a:endParaRPr lang="en-GB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594E5A7-FBE8-1542-1737-FF0EB426BC12}"/>
              </a:ext>
            </a:extLst>
          </p:cNvPr>
          <p:cNvGrpSpPr/>
          <p:nvPr/>
        </p:nvGrpSpPr>
        <p:grpSpPr>
          <a:xfrm>
            <a:off x="9358130" y="225425"/>
            <a:ext cx="1148787" cy="538221"/>
            <a:chOff x="10887638" y="226954"/>
            <a:chExt cx="1148787" cy="53822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CC275C8-18D8-79F9-9019-5512B44D1F3B}"/>
                </a:ext>
              </a:extLst>
            </p:cNvPr>
            <p:cNvSpPr/>
            <p:nvPr/>
          </p:nvSpPr>
          <p:spPr>
            <a:xfrm>
              <a:off x="10887638" y="226954"/>
              <a:ext cx="1148787" cy="538221"/>
            </a:xfrm>
            <a:prstGeom prst="rect">
              <a:avLst/>
            </a:prstGeom>
            <a:noFill/>
            <a:ln>
              <a:solidFill>
                <a:srgbClr val="AA213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B1DC9B9-F9B9-5F4F-3E4E-7F191A63279C}"/>
                </a:ext>
              </a:extLst>
            </p:cNvPr>
            <p:cNvSpPr txBox="1"/>
            <p:nvPr/>
          </p:nvSpPr>
          <p:spPr>
            <a:xfrm>
              <a:off x="10927713" y="265231"/>
              <a:ext cx="10686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Grantee 2 Logo Here</a:t>
              </a:r>
              <a:endParaRPr lang="en-GB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D6065D8-C2BA-44BB-0A6A-45CCF6DCE7F4}"/>
              </a:ext>
            </a:extLst>
          </p:cNvPr>
          <p:cNvGrpSpPr/>
          <p:nvPr/>
        </p:nvGrpSpPr>
        <p:grpSpPr>
          <a:xfrm>
            <a:off x="7834627" y="225423"/>
            <a:ext cx="1148787" cy="538221"/>
            <a:chOff x="10887638" y="226954"/>
            <a:chExt cx="1148787" cy="53822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6ECA65-9D89-EE3B-09CD-D628FC7FDAEF}"/>
                </a:ext>
              </a:extLst>
            </p:cNvPr>
            <p:cNvSpPr/>
            <p:nvPr/>
          </p:nvSpPr>
          <p:spPr>
            <a:xfrm>
              <a:off x="10887638" y="226954"/>
              <a:ext cx="1148787" cy="538221"/>
            </a:xfrm>
            <a:prstGeom prst="rect">
              <a:avLst/>
            </a:prstGeom>
            <a:noFill/>
            <a:ln>
              <a:solidFill>
                <a:srgbClr val="AA213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B46304-5A3C-0D7A-2221-B4D782191F4E}"/>
                </a:ext>
              </a:extLst>
            </p:cNvPr>
            <p:cNvSpPr txBox="1"/>
            <p:nvPr/>
          </p:nvSpPr>
          <p:spPr>
            <a:xfrm>
              <a:off x="10927713" y="265231"/>
              <a:ext cx="10686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Grantee 3 Logo Here</a:t>
              </a:r>
              <a:endParaRPr lang="en-GB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" name="Title 7">
            <a:extLst>
              <a:ext uri="{FF2B5EF4-FFF2-40B4-BE49-F238E27FC236}">
                <a16:creationId xmlns:a16="http://schemas.microsoft.com/office/drawing/2014/main" id="{3ED54CC3-A330-1FEF-73BB-5431B3CA33A1}"/>
              </a:ext>
            </a:extLst>
          </p:cNvPr>
          <p:cNvSpPr txBox="1">
            <a:spLocks/>
          </p:cNvSpPr>
          <p:nvPr/>
        </p:nvSpPr>
        <p:spPr>
          <a:xfrm>
            <a:off x="155575" y="10414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sz="3700" b="1" dirty="0">
                <a:latin typeface="Fira Sans" panose="020B0503050000020004" pitchFamily="34" charset="0"/>
              </a:rPr>
              <a:t>Title</a:t>
            </a:r>
            <a:endParaRPr lang="de-DE" sz="3700" b="1" dirty="0">
              <a:latin typeface="Fira Sans" panose="020B0503050000020004" pitchFamily="34" charset="0"/>
            </a:endParaRPr>
          </a:p>
        </p:txBody>
      </p:sp>
      <p:sp>
        <p:nvSpPr>
          <p:cNvPr id="22" name="Subtitle 8">
            <a:extLst>
              <a:ext uri="{FF2B5EF4-FFF2-40B4-BE49-F238E27FC236}">
                <a16:creationId xmlns:a16="http://schemas.microsoft.com/office/drawing/2014/main" id="{7D27C18A-EEFB-6C37-29A3-783398D106AC}"/>
              </a:ext>
            </a:extLst>
          </p:cNvPr>
          <p:cNvSpPr txBox="1">
            <a:spLocks/>
          </p:cNvSpPr>
          <p:nvPr/>
        </p:nvSpPr>
        <p:spPr>
          <a:xfrm>
            <a:off x="233725" y="1682773"/>
            <a:ext cx="11394450" cy="369332"/>
          </a:xfrm>
          <a:prstGeom prst="rect">
            <a:avLst/>
          </a:prstGeom>
        </p:spPr>
        <p:txBody>
          <a:bodyPr vert="horz" wrap="square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</a:pPr>
            <a:r>
              <a:rPr lang="en-US" sz="2000" kern="1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title (if necessary)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D061F7D1-26E7-97A8-A6EB-6A925A9532A5}"/>
              </a:ext>
            </a:extLst>
          </p:cNvPr>
          <p:cNvSpPr txBox="1">
            <a:spLocks/>
          </p:cNvSpPr>
          <p:nvPr/>
        </p:nvSpPr>
        <p:spPr>
          <a:xfrm>
            <a:off x="155575" y="2193399"/>
            <a:ext cx="11473200" cy="1135950"/>
          </a:xfrm>
          <a:prstGeom prst="rect">
            <a:avLst/>
          </a:prstGeom>
          <a:ln w="19050">
            <a:noFill/>
          </a:ln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qu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ute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u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 sit r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ffictu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itissequi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oria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olupid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rr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um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u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abore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orpo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atu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? Litas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xperferum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cepeli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rem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em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sp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acea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olo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non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epta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run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mnim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pedic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cte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lam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bitatu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d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qui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u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udit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quidi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et litis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olumen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cca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atu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as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vit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mmoluptam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hari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pta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sed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um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res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epuditatu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ni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necti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 Ut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eres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s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err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s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u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ollup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stis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hi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magnata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et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ndebita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A16E3CE-3975-B791-31B6-D8DC93C9F6C9}"/>
              </a:ext>
            </a:extLst>
          </p:cNvPr>
          <p:cNvSpPr txBox="1"/>
          <p:nvPr/>
        </p:nvSpPr>
        <p:spPr>
          <a:xfrm>
            <a:off x="155575" y="3470643"/>
            <a:ext cx="3199219" cy="1487587"/>
          </a:xfrm>
          <a:prstGeom prst="rect">
            <a:avLst/>
          </a:prstGeom>
          <a:solidFill>
            <a:srgbClr val="A1204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hasis Box</a:t>
            </a:r>
          </a:p>
          <a:p>
            <a:endParaRPr lang="en-US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 res as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ciis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lor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luptus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 ped quo de nis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t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um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epe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cculla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ent.</a:t>
            </a:r>
          </a:p>
        </p:txBody>
      </p:sp>
    </p:spTree>
    <p:extLst>
      <p:ext uri="{BB962C8B-B14F-4D97-AF65-F5344CB8AC3E}">
        <p14:creationId xmlns:p14="http://schemas.microsoft.com/office/powerpoint/2010/main" val="3432210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Group Work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011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Business Plan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1985" y="3108325"/>
            <a:ext cx="9808029" cy="1017361"/>
          </a:xfrm>
        </p:spPr>
        <p:txBody>
          <a:bodyPr>
            <a:noAutofit/>
          </a:bodyPr>
          <a:lstStyle/>
          <a:p>
            <a:pPr marR="0" rtl="0"/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ing Plan/Strategy</a:t>
            </a:r>
            <a:endParaRPr lang="en-GB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435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Part One: Goal Setting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652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Marketing Goal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1985" y="3108325"/>
            <a:ext cx="9808029" cy="1017361"/>
          </a:xfrm>
        </p:spPr>
        <p:txBody>
          <a:bodyPr>
            <a:noAutofit/>
          </a:bodyPr>
          <a:lstStyle/>
          <a:p>
            <a:pPr marR="0" rtl="0"/>
            <a:r>
              <a:rPr lang="en-GB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the overarching goal for your marketing campaign/strategy/activity</a:t>
            </a:r>
          </a:p>
        </p:txBody>
      </p:sp>
    </p:spTree>
    <p:extLst>
      <p:ext uri="{BB962C8B-B14F-4D97-AF65-F5344CB8AC3E}">
        <p14:creationId xmlns:p14="http://schemas.microsoft.com/office/powerpoint/2010/main" val="233341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Marketing Goal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1985" y="3108325"/>
            <a:ext cx="9808029" cy="549275"/>
          </a:xfrm>
        </p:spPr>
        <p:txBody>
          <a:bodyPr>
            <a:noAutofit/>
          </a:bodyPr>
          <a:lstStyle/>
          <a:p>
            <a:pPr marR="0" rtl="0"/>
            <a:r>
              <a:rPr lang="en-GB" sz="3200" i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 our initiative's awareness in the community</a:t>
            </a:r>
          </a:p>
        </p:txBody>
      </p:sp>
    </p:spTree>
    <p:extLst>
      <p:ext uri="{BB962C8B-B14F-4D97-AF65-F5344CB8AC3E}">
        <p14:creationId xmlns:p14="http://schemas.microsoft.com/office/powerpoint/2010/main" val="42852244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Marketing Objective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1985" y="3108325"/>
            <a:ext cx="9808029" cy="995589"/>
          </a:xfrm>
        </p:spPr>
        <p:txBody>
          <a:bodyPr>
            <a:noAutofit/>
          </a:bodyPr>
          <a:lstStyle/>
          <a:p>
            <a:pPr marR="0" rtl="0"/>
            <a:r>
              <a:rPr lang="en-GB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st specific, measurable, achievable, relevant, and time-bound objectives aligned with your marketing goal</a:t>
            </a:r>
          </a:p>
        </p:txBody>
      </p:sp>
    </p:spTree>
    <p:extLst>
      <p:ext uri="{BB962C8B-B14F-4D97-AF65-F5344CB8AC3E}">
        <p14:creationId xmlns:p14="http://schemas.microsoft.com/office/powerpoint/2010/main" val="2698957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4385" y="628650"/>
            <a:ext cx="9503229" cy="2800350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Why is it important for our projects to utilize effective communication and marketing?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6167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Marketing Objective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5849" y="3114221"/>
            <a:ext cx="10020301" cy="984704"/>
          </a:xfrm>
        </p:spPr>
        <p:txBody>
          <a:bodyPr>
            <a:noAutofit/>
          </a:bodyPr>
          <a:lstStyle/>
          <a:p>
            <a:pPr marR="0" rtl="0"/>
            <a:r>
              <a:rPr lang="en-GB" sz="3200" i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 the average engagement rate on Instagram posts by 20% over the next three months for our fashion brand</a:t>
            </a:r>
          </a:p>
        </p:txBody>
      </p:sp>
    </p:spTree>
    <p:extLst>
      <p:ext uri="{BB962C8B-B14F-4D97-AF65-F5344CB8AC3E}">
        <p14:creationId xmlns:p14="http://schemas.microsoft.com/office/powerpoint/2010/main" val="36578059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58775"/>
            <a:ext cx="10229850" cy="631825"/>
          </a:xfrm>
        </p:spPr>
        <p:txBody>
          <a:bodyPr/>
          <a:lstStyle/>
          <a:p>
            <a:pPr algn="l"/>
            <a:r>
              <a:rPr lang="en-GB" sz="3600" b="1" dirty="0">
                <a:latin typeface="Fira Sans" panose="020B0503050000020004" pitchFamily="34" charset="0"/>
              </a:rPr>
              <a:t>Marketing Objectives - SMART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197429"/>
            <a:ext cx="11393488" cy="3951514"/>
          </a:xfrm>
        </p:spPr>
        <p:txBody>
          <a:bodyPr>
            <a:noAutofit/>
          </a:bodyPr>
          <a:lstStyle/>
          <a:p>
            <a:pPr marR="0" algn="l" rtl="0"/>
            <a:r>
              <a:rPr lang="en-US" sz="40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cific:		who, what, details</a:t>
            </a:r>
          </a:p>
          <a:p>
            <a:pPr marR="0" algn="l" rtl="0"/>
            <a:r>
              <a:rPr lang="en-US" sz="40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urable:	how many, documented by, accountable to</a:t>
            </a:r>
          </a:p>
          <a:p>
            <a:pPr marR="0" algn="l" rtl="0"/>
            <a:r>
              <a:rPr lang="en-US" sz="40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ievable:	justification</a:t>
            </a:r>
          </a:p>
          <a:p>
            <a:pPr marR="0" algn="l" rtl="0"/>
            <a:r>
              <a:rPr lang="en-US" sz="40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vant:		rationale</a:t>
            </a:r>
          </a:p>
          <a:p>
            <a:pPr marR="0" algn="l" rtl="0"/>
            <a:r>
              <a:rPr lang="en-US" sz="40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US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e-bound:	when</a:t>
            </a:r>
          </a:p>
          <a:p>
            <a:pPr marR="0" algn="l" rtl="0"/>
            <a:endParaRPr lang="en-US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US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GB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817C836-CEC8-7A22-3AB3-4FD24F571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114" y="3712028"/>
            <a:ext cx="2939857" cy="1540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15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58775"/>
            <a:ext cx="10229850" cy="631825"/>
          </a:xfrm>
        </p:spPr>
        <p:txBody>
          <a:bodyPr/>
          <a:lstStyle/>
          <a:p>
            <a:pPr algn="l"/>
            <a:r>
              <a:rPr lang="en-GB" sz="3600" b="1" dirty="0">
                <a:latin typeface="Fira Sans" panose="020B0503050000020004" pitchFamily="34" charset="0"/>
              </a:rPr>
              <a:t>Marketing Objectives - SMART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990600"/>
            <a:ext cx="11393488" cy="4506686"/>
          </a:xfrm>
        </p:spPr>
        <p:txBody>
          <a:bodyPr>
            <a:noAutofit/>
          </a:bodyPr>
          <a:lstStyle/>
          <a:p>
            <a:pPr marR="0" algn="l" rtl="0"/>
            <a:r>
              <a:rPr lang="en-US" sz="32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cific: </a:t>
            </a:r>
            <a:r>
              <a:rPr lang="en-GB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 specifies the platform (LinkedIn), metric (engagement rate), and goal (20% increase).</a:t>
            </a:r>
          </a:p>
          <a:p>
            <a:pPr marR="0" algn="l" rtl="0"/>
            <a:r>
              <a:rPr lang="en-US" sz="32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urable: </a:t>
            </a:r>
            <a:r>
              <a:rPr lang="en-GB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agement rate can be easily measured by tracking likes, comments, shares, and saves on LinkedIn.</a:t>
            </a:r>
          </a:p>
          <a:p>
            <a:pPr marR="0" algn="l" rtl="0"/>
            <a:r>
              <a:rPr lang="en-US" sz="32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ievable: </a:t>
            </a:r>
            <a:r>
              <a:rPr lang="en-GB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20% increase is feasible with strategic content planning, community engagement and collaborations.</a:t>
            </a:r>
          </a:p>
          <a:p>
            <a:pPr marR="0" algn="l" rtl="0"/>
            <a:r>
              <a:rPr lang="en-US" sz="32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n-US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vant: </a:t>
            </a:r>
            <a:r>
              <a:rPr lang="en-GB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roving engagement aligns with initiative's goal of increasing awareness and fostering community.</a:t>
            </a:r>
          </a:p>
          <a:p>
            <a:pPr marR="0" algn="l" rtl="0"/>
            <a:r>
              <a:rPr lang="en-US" sz="32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US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e-bound: </a:t>
            </a:r>
            <a:r>
              <a:rPr lang="en-GB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 has a specific timeframe of three months, allowing for timely evaluation and adjustments.</a:t>
            </a:r>
          </a:p>
          <a:p>
            <a:pPr marR="0" algn="l" rtl="0"/>
            <a:endParaRPr lang="en-US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US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US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GB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360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Marketing Objective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5849" y="3114221"/>
            <a:ext cx="10020301" cy="984704"/>
          </a:xfrm>
        </p:spPr>
        <p:txBody>
          <a:bodyPr>
            <a:noAutofit/>
          </a:bodyPr>
          <a:lstStyle/>
          <a:p>
            <a:pPr marR="0" rtl="0"/>
            <a:r>
              <a:rPr lang="en-GB" sz="3200" i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 the average engagement rate on Instagram posts by 20% over the next three months for our fashion brand</a:t>
            </a:r>
          </a:p>
        </p:txBody>
      </p:sp>
    </p:spTree>
    <p:extLst>
      <p:ext uri="{BB962C8B-B14F-4D97-AF65-F5344CB8AC3E}">
        <p14:creationId xmlns:p14="http://schemas.microsoft.com/office/powerpoint/2010/main" val="27230379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Part Two: Strategy/Plan Development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5318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Tactics and Activities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9878" y="3108325"/>
            <a:ext cx="8692244" cy="995589"/>
          </a:xfrm>
        </p:spPr>
        <p:txBody>
          <a:bodyPr>
            <a:noAutofit/>
          </a:bodyPr>
          <a:lstStyle/>
          <a:p>
            <a:pPr marR="0" rtl="0"/>
            <a:r>
              <a:rPr lang="en-GB" sz="32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line specific activities to implement in the marketing strategy/plan</a:t>
            </a:r>
          </a:p>
        </p:txBody>
      </p:sp>
    </p:spTree>
    <p:extLst>
      <p:ext uri="{BB962C8B-B14F-4D97-AF65-F5344CB8AC3E}">
        <p14:creationId xmlns:p14="http://schemas.microsoft.com/office/powerpoint/2010/main" val="1037554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58775"/>
            <a:ext cx="11393488" cy="631825"/>
          </a:xfrm>
        </p:spPr>
        <p:txBody>
          <a:bodyPr/>
          <a:lstStyle/>
          <a:p>
            <a:pPr algn="l"/>
            <a:r>
              <a:rPr lang="en-GB" sz="3600" b="1" dirty="0">
                <a:latin typeface="Fira Sans" panose="020B0503050000020004" pitchFamily="34" charset="0"/>
              </a:rPr>
              <a:t>Activity No. X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197429"/>
            <a:ext cx="11393488" cy="3951514"/>
          </a:xfrm>
        </p:spPr>
        <p:txBody>
          <a:bodyPr>
            <a:noAutofit/>
          </a:bodyPr>
          <a:lstStyle/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Description</a:t>
            </a: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Target Audience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Medium/Channel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 Timeline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 Resources Needed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US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GB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person wearing a garment&#10;&#10;Description automatically generated with low confidence">
            <a:extLst>
              <a:ext uri="{FF2B5EF4-FFF2-40B4-BE49-F238E27FC236}">
                <a16:creationId xmlns:a16="http://schemas.microsoft.com/office/drawing/2014/main" id="{7F424588-6A76-B48A-E987-0CC40425D9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850" y="2373085"/>
            <a:ext cx="2452014" cy="289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1034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58775"/>
            <a:ext cx="11393488" cy="631825"/>
          </a:xfrm>
        </p:spPr>
        <p:txBody>
          <a:bodyPr/>
          <a:lstStyle/>
          <a:p>
            <a:pPr algn="l"/>
            <a:r>
              <a:rPr lang="en-GB" sz="3600" b="1" dirty="0">
                <a:latin typeface="Fira Sans" panose="020B0503050000020004" pitchFamily="34" charset="0"/>
              </a:rPr>
              <a:t>Group Work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  <p:sp>
        <p:nvSpPr>
          <p:cNvPr id="2" name="Subtitle 4">
            <a:extLst>
              <a:ext uri="{FF2B5EF4-FFF2-40B4-BE49-F238E27FC236}">
                <a16:creationId xmlns:a16="http://schemas.microsoft.com/office/drawing/2014/main" id="{B27DB8F4-60E8-02F3-090F-533BB2512E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197429"/>
            <a:ext cx="11393488" cy="3951514"/>
          </a:xfrm>
        </p:spPr>
        <p:txBody>
          <a:bodyPr>
            <a:noAutofit/>
          </a:bodyPr>
          <a:lstStyle/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Pick one project</a:t>
            </a: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Create a marketing goal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Create one (1) marketing objective 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 Create one (1) marketing activity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US" sz="3600" b="1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 If time allows fill in the worksheet further</a:t>
            </a:r>
            <a:endParaRPr lang="en-US" sz="36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US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rtl="0"/>
            <a:endParaRPr lang="en-GB" sz="32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33262C0-3E75-78A7-6158-D2D9B9318A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9133" y="1915887"/>
            <a:ext cx="2439401" cy="328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75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479675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Wrap Up and Q&amp;A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924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3E3A4713-68CD-7004-A197-25C7D53940C4}"/>
              </a:ext>
            </a:extLst>
          </p:cNvPr>
          <p:cNvSpPr txBox="1">
            <a:spLocks/>
          </p:cNvSpPr>
          <p:nvPr/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sz="3700" b="1" dirty="0">
                <a:latin typeface="Fira Sans" panose="020B0503050000020004" pitchFamily="34" charset="0"/>
              </a:rPr>
              <a:t>Thank You!</a:t>
            </a:r>
            <a:endParaRPr lang="de-DE" sz="3700" b="1" dirty="0">
              <a:latin typeface="Fira Sans" panose="020B0503050000020004" pitchFamily="34" charset="0"/>
            </a:endParaRPr>
          </a:p>
        </p:txBody>
      </p:sp>
      <p:sp>
        <p:nvSpPr>
          <p:cNvPr id="7" name="Subtitle 8">
            <a:extLst>
              <a:ext uri="{FF2B5EF4-FFF2-40B4-BE49-F238E27FC236}">
                <a16:creationId xmlns:a16="http://schemas.microsoft.com/office/drawing/2014/main" id="{C6A6448D-ED02-F6F6-09CB-C127D318933C}"/>
              </a:ext>
            </a:extLst>
          </p:cNvPr>
          <p:cNvSpPr txBox="1">
            <a:spLocks/>
          </p:cNvSpPr>
          <p:nvPr/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vert="horz" wrap="square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rgbClr val="A1204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 us for more information</a:t>
            </a:r>
            <a:endParaRPr lang="de-DE" sz="2000" dirty="0">
              <a:solidFill>
                <a:srgbClr val="A1204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CFA319-65C5-4B1A-1AD4-7000E69403B8}"/>
              </a:ext>
            </a:extLst>
          </p:cNvPr>
          <p:cNvGrpSpPr/>
          <p:nvPr/>
        </p:nvGrpSpPr>
        <p:grpSpPr>
          <a:xfrm>
            <a:off x="5288456" y="2432791"/>
            <a:ext cx="4160344" cy="774000"/>
            <a:chOff x="6136181" y="2785216"/>
            <a:chExt cx="4160344" cy="774000"/>
          </a:xfrm>
        </p:grpSpPr>
        <p:sp>
          <p:nvSpPr>
            <p:cNvPr id="9" name="Content Placeholder 9">
              <a:extLst>
                <a:ext uri="{FF2B5EF4-FFF2-40B4-BE49-F238E27FC236}">
                  <a16:creationId xmlns:a16="http://schemas.microsoft.com/office/drawing/2014/main" id="{3D9CA7E3-FAAA-CD12-1A6C-F46D1987397B}"/>
                </a:ext>
              </a:extLst>
            </p:cNvPr>
            <p:cNvSpPr txBox="1">
              <a:spLocks/>
            </p:cNvSpPr>
            <p:nvPr/>
          </p:nvSpPr>
          <p:spPr>
            <a:xfrm>
              <a:off x="7088680" y="3024194"/>
              <a:ext cx="3207845" cy="29604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285750" indent="-28575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880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320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800" b="1" dirty="0">
                  <a:latin typeface="Fira Sans" panose="020B0503050000020004" pitchFamily="34" charset="0"/>
                  <a:cs typeface="Calibri" panose="020F0502020204030204" pitchFamily="34" charset="0"/>
                </a:rPr>
                <a:t>https://skillsafrica.org/</a:t>
              </a:r>
            </a:p>
          </p:txBody>
        </p:sp>
        <p:pic>
          <p:nvPicPr>
            <p:cNvPr id="10" name="Picture 9" descr="Logo, icon&#10;&#10;Description automatically generated">
              <a:extLst>
                <a:ext uri="{FF2B5EF4-FFF2-40B4-BE49-F238E27FC236}">
                  <a16:creationId xmlns:a16="http://schemas.microsoft.com/office/drawing/2014/main" id="{D3DE01BD-1B61-2C4D-12B0-6BA6DA4E8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6181" y="2785216"/>
              <a:ext cx="774000" cy="7740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12D7EE-205B-9333-02CB-A401608BD338}"/>
              </a:ext>
            </a:extLst>
          </p:cNvPr>
          <p:cNvGrpSpPr/>
          <p:nvPr/>
        </p:nvGrpSpPr>
        <p:grpSpPr>
          <a:xfrm>
            <a:off x="5288456" y="3632687"/>
            <a:ext cx="5696419" cy="774000"/>
            <a:chOff x="6136181" y="3832712"/>
            <a:chExt cx="5696419" cy="774000"/>
          </a:xfrm>
        </p:grpSpPr>
        <p:pic>
          <p:nvPicPr>
            <p:cNvPr id="12" name="Picture 11" descr="Icon&#10;&#10;Description automatically generated">
              <a:extLst>
                <a:ext uri="{FF2B5EF4-FFF2-40B4-BE49-F238E27FC236}">
                  <a16:creationId xmlns:a16="http://schemas.microsoft.com/office/drawing/2014/main" id="{49A5CD46-6785-FD5A-C66F-73D7634DF3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6181" y="3832712"/>
              <a:ext cx="774000" cy="774000"/>
            </a:xfrm>
            <a:prstGeom prst="rect">
              <a:avLst/>
            </a:prstGeom>
          </p:spPr>
        </p:pic>
        <p:sp>
          <p:nvSpPr>
            <p:cNvPr id="13" name="Content Placeholder 9">
              <a:extLst>
                <a:ext uri="{FF2B5EF4-FFF2-40B4-BE49-F238E27FC236}">
                  <a16:creationId xmlns:a16="http://schemas.microsoft.com/office/drawing/2014/main" id="{2B29E9CC-2180-6204-8AC7-DF1E2E8AB1F7}"/>
                </a:ext>
              </a:extLst>
            </p:cNvPr>
            <p:cNvSpPr txBox="1">
              <a:spLocks/>
            </p:cNvSpPr>
            <p:nvPr/>
          </p:nvSpPr>
          <p:spPr>
            <a:xfrm>
              <a:off x="7088680" y="4071690"/>
              <a:ext cx="4743920" cy="296044"/>
            </a:xfrm>
            <a:prstGeom prst="rect">
              <a:avLst/>
            </a:prstGeom>
          </p:spPr>
          <p:txBody>
            <a:bodyPr>
              <a:noAutofit/>
            </a:bodyPr>
            <a:lstStyle>
              <a:defPPr>
                <a:defRPr lang="da-DK"/>
              </a:defPPr>
              <a:lvl1pPr indent="0" algn="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b="1">
                  <a:latin typeface="Fira Sans" panose="020B0503050000020004" pitchFamily="34" charset="0"/>
                  <a:cs typeface="Calibri" panose="020F0502020204030204" pitchFamily="34" charset="0"/>
                </a:defRPr>
              </a:lvl1pPr>
              <a:lvl2pPr marL="56880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2pPr>
              <a:lvl3pPr marL="85320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/>
              </a:lvl3pPr>
              <a:lvl4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>
                  <a:latin typeface="Segoe UI Black" panose="020B0A02040204020203" pitchFamily="34" charset="0"/>
                  <a:ea typeface="Segoe UI Black" panose="020B0A02040204020203" pitchFamily="34" charset="0"/>
                </a:defRPr>
              </a:lvl4pPr>
              <a:lvl5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/>
              </a:lvl5pPr>
              <a:lvl6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/>
              </a:lvl6pPr>
              <a:lvl7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/>
              </a:lvl7pPr>
              <a:lvl8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/>
              </a:lvl8pPr>
              <a:lvl9pPr marL="0" indent="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1600"/>
              </a:lvl9pPr>
            </a:lstStyle>
            <a:p>
              <a:pPr algn="l"/>
              <a:r>
                <a:rPr lang="en-US" dirty="0"/>
                <a:t>support@skillsinitiative-for-africa.com</a:t>
              </a:r>
            </a:p>
          </p:txBody>
        </p:sp>
      </p:grpSp>
      <p:pic>
        <p:nvPicPr>
          <p:cNvPr id="14" name="Picture 13" descr="Logo, icon&#10;&#10;Description automatically generated">
            <a:extLst>
              <a:ext uri="{FF2B5EF4-FFF2-40B4-BE49-F238E27FC236}">
                <a16:creationId xmlns:a16="http://schemas.microsoft.com/office/drawing/2014/main" id="{9BB89419-EC43-C09F-F411-EB6E7AAD39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400" y="3032739"/>
            <a:ext cx="774000" cy="774000"/>
          </a:xfrm>
          <a:prstGeom prst="rect">
            <a:avLst/>
          </a:prstGeom>
        </p:spPr>
      </p:pic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81DBFA52-D1DF-0E96-9039-822AEA73CC35}"/>
              </a:ext>
            </a:extLst>
          </p:cNvPr>
          <p:cNvSpPr txBox="1">
            <a:spLocks/>
          </p:cNvSpPr>
          <p:nvPr/>
        </p:nvSpPr>
        <p:spPr>
          <a:xfrm>
            <a:off x="1228725" y="3271717"/>
            <a:ext cx="3112596" cy="296044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da-DK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latin typeface="Fira Sans" panose="020B0503050000020004" pitchFamily="34" charset="0"/>
                <a:cs typeface="Calibri" panose="020F0502020204030204" pitchFamily="34" charset="0"/>
              </a:defRPr>
            </a:lvl1pPr>
            <a:lvl2pPr marL="56880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85320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>
                <a:latin typeface="Segoe UI Black" panose="020B0A02040204020203" pitchFamily="34" charset="0"/>
                <a:ea typeface="Segoe UI Black" panose="020B0A02040204020203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US" dirty="0"/>
              <a:t>@skills-initiative-for-afric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75D78A9-3E73-F286-4457-FF2958A576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19820" y="4232636"/>
            <a:ext cx="775161" cy="775161"/>
          </a:xfrm>
          <a:prstGeom prst="rect">
            <a:avLst/>
          </a:prstGeom>
        </p:spPr>
      </p:pic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6441FEE5-5423-6395-8BCB-FF7D73CC3C3A}"/>
              </a:ext>
            </a:extLst>
          </p:cNvPr>
          <p:cNvSpPr txBox="1">
            <a:spLocks/>
          </p:cNvSpPr>
          <p:nvPr/>
        </p:nvSpPr>
        <p:spPr>
          <a:xfrm>
            <a:off x="2733675" y="4472194"/>
            <a:ext cx="1607646" cy="296044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da-DK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latin typeface="Fira Sans" panose="020B0503050000020004" pitchFamily="34" charset="0"/>
                <a:cs typeface="Calibri" panose="020F0502020204030204" pitchFamily="34" charset="0"/>
              </a:defRPr>
            </a:lvl1pPr>
            <a:lvl2pPr marL="56880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85320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>
                <a:latin typeface="Segoe UI Black" panose="020B0A02040204020203" pitchFamily="34" charset="0"/>
                <a:ea typeface="Segoe UI Black" panose="020B0A02040204020203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US" dirty="0"/>
              <a:t>@SIFA_FC</a:t>
            </a:r>
          </a:p>
        </p:txBody>
      </p:sp>
      <p:pic>
        <p:nvPicPr>
          <p:cNvPr id="18" name="Picture 17" descr="Logo, icon&#10;&#10;Description automatically generated">
            <a:extLst>
              <a:ext uri="{FF2B5EF4-FFF2-40B4-BE49-F238E27FC236}">
                <a16:creationId xmlns:a16="http://schemas.microsoft.com/office/drawing/2014/main" id="{C1C38565-B144-559F-2B61-F3448DD253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400" y="1832843"/>
            <a:ext cx="774000" cy="774000"/>
          </a:xfrm>
          <a:prstGeom prst="rect">
            <a:avLst/>
          </a:prstGeom>
        </p:spPr>
      </p:pic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358D0C30-7915-1CC7-0760-5EE9A2A7ECAA}"/>
              </a:ext>
            </a:extLst>
          </p:cNvPr>
          <p:cNvSpPr txBox="1">
            <a:spLocks/>
          </p:cNvSpPr>
          <p:nvPr/>
        </p:nvSpPr>
        <p:spPr>
          <a:xfrm>
            <a:off x="2333625" y="2071821"/>
            <a:ext cx="2007696" cy="296044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r>
              <a:rPr lang="en-US" sz="1800" b="1" dirty="0">
                <a:latin typeface="Fira Sans" panose="020B0503050000020004" pitchFamily="34" charset="0"/>
                <a:cs typeface="Calibri" panose="020F0502020204030204" pitchFamily="34" charset="0"/>
              </a:rPr>
              <a:t>@SIFAAfrica</a:t>
            </a:r>
          </a:p>
        </p:txBody>
      </p:sp>
    </p:spTree>
    <p:extLst>
      <p:ext uri="{BB962C8B-B14F-4D97-AF65-F5344CB8AC3E}">
        <p14:creationId xmlns:p14="http://schemas.microsoft.com/office/powerpoint/2010/main" val="64156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5671" y="628650"/>
            <a:ext cx="10700658" cy="2800350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Why should stakeholders involved in your project actively participate in discussions about communications and marketing?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045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557" y="628650"/>
            <a:ext cx="10678885" cy="2800350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How can communications and marketing contribute to the scaling up of your innovations?  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980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A33B69-82F4-4C0D-9F82-4B9FF8E32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28650"/>
            <a:ext cx="9144000" cy="2800350"/>
          </a:xfrm>
        </p:spPr>
        <p:txBody>
          <a:bodyPr/>
          <a:lstStyle/>
          <a:p>
            <a:r>
              <a:rPr lang="en-GB" sz="3600" b="1" dirty="0">
                <a:latin typeface="Fira Sans" panose="020B0503050000020004" pitchFamily="34" charset="0"/>
              </a:rPr>
              <a:t>Logo Guidelines</a:t>
            </a:r>
            <a:endParaRPr lang="de-DE" sz="3600" b="1" dirty="0"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132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website&#10;&#10;Description automatically generated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998" y="167769"/>
            <a:ext cx="8696003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26829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47998" y="167769"/>
            <a:ext cx="8696002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89314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51726" y="167769"/>
            <a:ext cx="8688548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473E41B-43F6-B6CB-DADE-7F1E3AC888B9}"/>
              </a:ext>
            </a:extLst>
          </p:cNvPr>
          <p:cNvSpPr/>
          <p:nvPr/>
        </p:nvSpPr>
        <p:spPr>
          <a:xfrm>
            <a:off x="1751726" y="6438900"/>
            <a:ext cx="1724899" cy="25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5124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9F0CAC-0458-F3AF-7F50-B28ADB1DA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56751" y="167769"/>
            <a:ext cx="8678498" cy="6522462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473E41B-43F6-B6CB-DADE-7F1E3AC888B9}"/>
              </a:ext>
            </a:extLst>
          </p:cNvPr>
          <p:cNvSpPr/>
          <p:nvPr/>
        </p:nvSpPr>
        <p:spPr>
          <a:xfrm>
            <a:off x="1756751" y="6421581"/>
            <a:ext cx="2287391" cy="268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7290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FE">
  <a:themeElements>
    <a:clrScheme name="LIFE">
      <a:dk1>
        <a:srgbClr val="000000"/>
      </a:dk1>
      <a:lt1>
        <a:srgbClr val="FFFFFF"/>
      </a:lt1>
      <a:dk2>
        <a:srgbClr val="1F4843"/>
      </a:dk2>
      <a:lt2>
        <a:srgbClr val="EBEFE4"/>
      </a:lt2>
      <a:accent1>
        <a:srgbClr val="EBEFE4"/>
      </a:accent1>
      <a:accent2>
        <a:srgbClr val="DBE4B5"/>
      </a:accent2>
      <a:accent3>
        <a:srgbClr val="B8CD96"/>
      </a:accent3>
      <a:accent4>
        <a:srgbClr val="36706B"/>
      </a:accent4>
      <a:accent5>
        <a:srgbClr val="1F4843"/>
      </a:accent5>
      <a:accent6>
        <a:srgbClr val="84C55E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FE" id="{0D7308D8-5D05-4635-81C1-CC8087C4BEA0}" vid="{AA0ED056-42B9-4A9E-A1FD-0D74E96B20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29</Words>
  <Application>Microsoft Office PowerPoint</Application>
  <PresentationFormat>Widescreen</PresentationFormat>
  <Paragraphs>68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</vt:lpstr>
      <vt:lpstr>Calibri</vt:lpstr>
      <vt:lpstr>Fira Sans</vt:lpstr>
      <vt:lpstr>Lato</vt:lpstr>
      <vt:lpstr>Lato Regular</vt:lpstr>
      <vt:lpstr>Palatino Linotype</vt:lpstr>
      <vt:lpstr>Segoe UI</vt:lpstr>
      <vt:lpstr>Segoe UI Black</vt:lpstr>
      <vt:lpstr>Segoe UI Light</vt:lpstr>
      <vt:lpstr>Verdana Pro Cond Light</vt:lpstr>
      <vt:lpstr>LIFE</vt:lpstr>
      <vt:lpstr>think-cell Slide</vt:lpstr>
      <vt:lpstr>Skills Initiative for Africa Financial Cooperation</vt:lpstr>
      <vt:lpstr>Why is it important for our projects to utilize effective communication and marketing?</vt:lpstr>
      <vt:lpstr>Why should stakeholders involved in your project actively participate in discussions about communications and marketing?</vt:lpstr>
      <vt:lpstr>How can communications and marketing contribute to the scaling up of your innovations?  </vt:lpstr>
      <vt:lpstr>Logo Guidelin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oup Work</vt:lpstr>
      <vt:lpstr>Business Plan</vt:lpstr>
      <vt:lpstr>Part One: Goal Setting</vt:lpstr>
      <vt:lpstr>Marketing Goal</vt:lpstr>
      <vt:lpstr>Marketing Goal</vt:lpstr>
      <vt:lpstr>Marketing Objective</vt:lpstr>
      <vt:lpstr>Marketing Objective</vt:lpstr>
      <vt:lpstr>Marketing Objectives - SMART</vt:lpstr>
      <vt:lpstr>Marketing Objectives - SMART</vt:lpstr>
      <vt:lpstr>Marketing Objective</vt:lpstr>
      <vt:lpstr>Part Two: Strategy/Plan Development</vt:lpstr>
      <vt:lpstr>Tactics and Activities</vt:lpstr>
      <vt:lpstr>Activity No. X</vt:lpstr>
      <vt:lpstr>Group Work</vt:lpstr>
      <vt:lpstr>Wrap Up and Q&amp;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Nowak (MNOW)</dc:creator>
  <cp:lastModifiedBy>Michael Nowak (MNOW)</cp:lastModifiedBy>
  <cp:revision>32</cp:revision>
  <dcterms:created xsi:type="dcterms:W3CDTF">2021-12-16T12:52:56Z</dcterms:created>
  <dcterms:modified xsi:type="dcterms:W3CDTF">2024-05-17T06:2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lyLanguageRun">
    <vt:lpwstr>true</vt:lpwstr>
  </property>
</Properties>
</file>